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diagrams/layout4.xml" ContentType="application/vnd.openxmlformats-officedocument.drawingml.diagram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82" r:id="rId3"/>
    <p:sldId id="258" r:id="rId4"/>
    <p:sldId id="261" r:id="rId5"/>
    <p:sldId id="325" r:id="rId6"/>
    <p:sldId id="321" r:id="rId7"/>
    <p:sldId id="322" r:id="rId8"/>
    <p:sldId id="323" r:id="rId9"/>
    <p:sldId id="324" r:id="rId10"/>
    <p:sldId id="287" r:id="rId11"/>
    <p:sldId id="283" r:id="rId12"/>
    <p:sldId id="295" r:id="rId13"/>
    <p:sldId id="314" r:id="rId14"/>
    <p:sldId id="288" r:id="rId15"/>
    <p:sldId id="290" r:id="rId16"/>
    <p:sldId id="293" r:id="rId17"/>
    <p:sldId id="298" r:id="rId18"/>
    <p:sldId id="284" r:id="rId19"/>
    <p:sldId id="299" r:id="rId20"/>
    <p:sldId id="292" r:id="rId21"/>
    <p:sldId id="316" r:id="rId22"/>
    <p:sldId id="319" r:id="rId23"/>
    <p:sldId id="279" r:id="rId24"/>
  </p:sldIdLst>
  <p:sldSz cx="9144000" cy="6858000" type="screen4x3"/>
  <p:notesSz cx="7010400" cy="93726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42AEDE"/>
    <a:srgbClr val="B44682"/>
    <a:srgbClr val="CAE8F6"/>
    <a:srgbClr val="EAEAEA"/>
    <a:srgbClr val="B3E7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79408" autoAdjust="0"/>
  </p:normalViewPr>
  <p:slideViewPr>
    <p:cSldViewPr snapToGrid="0">
      <p:cViewPr varScale="1">
        <p:scale>
          <a:sx n="81" d="100"/>
          <a:sy n="81" d="100"/>
        </p:scale>
        <p:origin x="-45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86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lisa.astra.ses\SMD-Finance\PGB\Working%20docs\20111111_PGB_Master_Q3_2011-GG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momentum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2831084164354233E-2"/>
          <c:y val="5.3763629044960945E-2"/>
          <c:w val="0.95586139034762407"/>
          <c:h val="0.78853322599274989"/>
        </c:manualLayout>
      </c:layout>
      <c:barChart>
        <c:barDir val="col"/>
        <c:grouping val="clustered"/>
        <c:ser>
          <c:idx val="0"/>
          <c:order val="0"/>
          <c:tx>
            <c:strRef>
              <c:f>'WIP Revenue'!$B$42</c:f>
              <c:strCache>
                <c:ptCount val="1"/>
                <c:pt idx="0">
                  <c:v>Q3 2010</c:v>
                </c:pt>
              </c:strCache>
            </c:strRef>
          </c:tx>
          <c:spPr>
            <a:solidFill>
              <a:srgbClr val="C0C0C0"/>
            </a:solidFill>
            <a:ln w="25400">
              <a:noFill/>
            </a:ln>
          </c:spPr>
          <c:dLbls>
            <c:numFmt formatCode="#,###,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0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Val val="1"/>
          </c:dLbls>
          <c:cat>
            <c:strRef>
              <c:f>'WIP Revenue'!$A$44:$A$48</c:f>
              <c:strCache>
                <c:ptCount val="5"/>
                <c:pt idx="0">
                  <c:v>Intelsat</c:v>
                </c:pt>
                <c:pt idx="1">
                  <c:v>SES</c:v>
                </c:pt>
                <c:pt idx="2">
                  <c:v>Eutelsat</c:v>
                </c:pt>
                <c:pt idx="3">
                  <c:v>Telesat</c:v>
                </c:pt>
                <c:pt idx="4">
                  <c:v>Inmarsat</c:v>
                </c:pt>
              </c:strCache>
            </c:strRef>
          </c:cat>
          <c:val>
            <c:numRef>
              <c:f>'WIP Revenue'!$B$44:$B$48</c:f>
              <c:numCache>
                <c:formatCode>#,###,</c:formatCode>
                <c:ptCount val="5"/>
                <c:pt idx="0">
                  <c:v>1351575.6812999998</c:v>
                </c:pt>
                <c:pt idx="1">
                  <c:v>1245800</c:v>
                </c:pt>
                <c:pt idx="2">
                  <c:v>815040.66921095317</c:v>
                </c:pt>
                <c:pt idx="3">
                  <c:v>434744.65298996057</c:v>
                </c:pt>
                <c:pt idx="4">
                  <c:v>389682.8</c:v>
                </c:pt>
              </c:numCache>
            </c:numRef>
          </c:val>
        </c:ser>
        <c:ser>
          <c:idx val="1"/>
          <c:order val="1"/>
          <c:tx>
            <c:strRef>
              <c:f>'WIP Revenue'!$C$42</c:f>
              <c:strCache>
                <c:ptCount val="1"/>
                <c:pt idx="0">
                  <c:v>Q3 2011</c:v>
                </c:pt>
              </c:strCache>
            </c:strRef>
          </c:tx>
          <c:spPr>
            <a:solidFill>
              <a:srgbClr val="C0C0C0"/>
            </a:solidFill>
            <a:ln w="25400">
              <a:noFill/>
            </a:ln>
          </c:spPr>
          <c:dPt>
            <c:idx val="0"/>
            <c:spPr>
              <a:gradFill rotWithShape="0">
                <a:gsLst>
                  <a:gs pos="0">
                    <a:srgbClr val="17462F"/>
                  </a:gs>
                  <a:gs pos="100000">
                    <a:srgbClr val="339966"/>
                  </a:gs>
                </a:gsLst>
                <a:lin ang="5400000" scaled="1"/>
              </a:gra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1"/>
            <c:spPr>
              <a:gradFill rotWithShape="0">
                <a:gsLst>
                  <a:gs pos="0">
                    <a:srgbClr val="000075"/>
                  </a:gs>
                  <a:gs pos="100000">
                    <a:srgbClr val="0000FF"/>
                  </a:gs>
                </a:gsLst>
                <a:lin ang="5400000" scaled="1"/>
              </a:gra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2"/>
            <c:spPr>
              <a:gradFill rotWithShape="0">
                <a:gsLst>
                  <a:gs pos="0">
                    <a:srgbClr val="750000"/>
                  </a:gs>
                  <a:gs pos="100000">
                    <a:srgbClr val="FF0000"/>
                  </a:gs>
                </a:gsLst>
                <a:lin ang="5400000" scaled="1"/>
              </a:gra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3"/>
            <c:spPr>
              <a:gradFill rotWithShape="0">
                <a:gsLst>
                  <a:gs pos="0">
                    <a:srgbClr val="574D75"/>
                  </a:gs>
                  <a:gs pos="100000">
                    <a:srgbClr val="CC99FF"/>
                  </a:gs>
                </a:gsLst>
                <a:lin ang="5400000" scaled="1"/>
              </a:gra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4"/>
            <c:spPr>
              <a:gradFill rotWithShape="0">
                <a:gsLst>
                  <a:gs pos="0">
                    <a:srgbClr val="754600"/>
                  </a:gs>
                  <a:gs pos="100000">
                    <a:srgbClr val="FF9900"/>
                  </a:gs>
                </a:gsLst>
                <a:lin ang="5400000" scaled="1"/>
              </a:gradFill>
              <a:ln w="12700">
                <a:solidFill>
                  <a:srgbClr val="333333"/>
                </a:solidFill>
                <a:prstDash val="solid"/>
              </a:ln>
            </c:spPr>
          </c:dPt>
          <c:dLbls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Val val="1"/>
          </c:dLbls>
          <c:cat>
            <c:strRef>
              <c:f>'WIP Revenue'!$A$44:$A$48</c:f>
              <c:strCache>
                <c:ptCount val="5"/>
                <c:pt idx="0">
                  <c:v>Intelsat</c:v>
                </c:pt>
                <c:pt idx="1">
                  <c:v>SES</c:v>
                </c:pt>
                <c:pt idx="2">
                  <c:v>Eutelsat</c:v>
                </c:pt>
                <c:pt idx="3">
                  <c:v>Telesat</c:v>
                </c:pt>
                <c:pt idx="4">
                  <c:v>Inmarsat</c:v>
                </c:pt>
              </c:strCache>
            </c:strRef>
          </c:cat>
          <c:val>
            <c:numRef>
              <c:f>'WIP Revenue'!$C$44:$C$48</c:f>
              <c:numCache>
                <c:formatCode>#,###,</c:formatCode>
                <c:ptCount val="5"/>
                <c:pt idx="0">
                  <c:v>1376344.7165000001</c:v>
                </c:pt>
                <c:pt idx="1">
                  <c:v>1283400</c:v>
                </c:pt>
                <c:pt idx="2">
                  <c:v>885688</c:v>
                </c:pt>
                <c:pt idx="3">
                  <c:v>439125.5638003783</c:v>
                </c:pt>
                <c:pt idx="4">
                  <c:v>385842.85999999993</c:v>
                </c:pt>
              </c:numCache>
            </c:numRef>
          </c:val>
        </c:ser>
        <c:gapWidth val="70"/>
        <c:axId val="52000640"/>
        <c:axId val="52002176"/>
      </c:barChart>
      <c:lineChart>
        <c:grouping val="standard"/>
        <c:ser>
          <c:idx val="0"/>
          <c:order val="2"/>
          <c:tx>
            <c:strRef>
              <c:f>'WIP Revenue'!$D$43</c:f>
              <c:strCache>
                <c:ptCount val="1"/>
              </c:strCache>
            </c:strRef>
          </c:tx>
          <c:spPr>
            <a:ln w="28575"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1648053667696319E-2"/>
                  <c:y val="-0.75286686265650204"/>
                </c:manualLayout>
              </c:layout>
              <c:dLblPos val="r"/>
              <c:showVal val="1"/>
            </c:dLbl>
            <c:dLbl>
              <c:idx val="1"/>
              <c:layout>
                <c:manualLayout>
                  <c:x val="-4.2444530668922835E-2"/>
                  <c:y val="-0.7202607743271916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4.5131495847553819E-2"/>
                  <c:y val="-0.50117132657068664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4.3102073857383107E-2"/>
                  <c:y val="-0.28827294449323293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4.1064294516137807E-2"/>
                  <c:y val="-0.26611840787755175"/>
                </c:manualLayout>
              </c:layout>
              <c:dLblPos val="r"/>
              <c:showVal val="1"/>
            </c:dLbl>
            <c:numFmt formatCode="0.0%" sourceLinked="0"/>
            <c:spPr>
              <a:ln>
                <a:solidFill>
                  <a:schemeClr val="bg1">
                    <a:lumMod val="50000"/>
                  </a:schemeClr>
                </a:solidFill>
              </a:ln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dLblPos val="t"/>
            <c:showVal val="1"/>
          </c:dLbls>
          <c:cat>
            <c:strRef>
              <c:f>'WIP Revenue'!$A$44:$A$48</c:f>
              <c:strCache>
                <c:ptCount val="5"/>
                <c:pt idx="0">
                  <c:v>Intelsat</c:v>
                </c:pt>
                <c:pt idx="1">
                  <c:v>SES</c:v>
                </c:pt>
                <c:pt idx="2">
                  <c:v>Eutelsat</c:v>
                </c:pt>
                <c:pt idx="3">
                  <c:v>Telesat</c:v>
                </c:pt>
                <c:pt idx="4">
                  <c:v>Inmarsat</c:v>
                </c:pt>
              </c:strCache>
            </c:strRef>
          </c:cat>
          <c:val>
            <c:numRef>
              <c:f>'WIP Revenue'!$D$44:$D$48</c:f>
              <c:numCache>
                <c:formatCode>General</c:formatCode>
                <c:ptCount val="5"/>
                <c:pt idx="0">
                  <c:v>1.8326043848448246E-2</c:v>
                </c:pt>
                <c:pt idx="1">
                  <c:v>3.0181409536041093E-2</c:v>
                </c:pt>
                <c:pt idx="2">
                  <c:v>8.6679516075487545E-2</c:v>
                </c:pt>
                <c:pt idx="3">
                  <c:v>1.0076974564926455E-2</c:v>
                </c:pt>
                <c:pt idx="4">
                  <c:v>-9.854014598540255E-3</c:v>
                </c:pt>
              </c:numCache>
            </c:numRef>
          </c:val>
        </c:ser>
        <c:marker val="1"/>
        <c:axId val="52000640"/>
        <c:axId val="52002176"/>
      </c:lineChart>
      <c:catAx>
        <c:axId val="52000640"/>
        <c:scaling>
          <c:orientation val="minMax"/>
        </c:scaling>
        <c:axPos val="b"/>
        <c:numFmt formatCode="General" sourceLinked="1"/>
        <c:tickLblPos val="nextTo"/>
        <c:spPr>
          <a:ln w="19050">
            <a:solidFill>
              <a:srgbClr val="7D7F7E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rgbClr val="333333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2002176"/>
        <c:crossesAt val="0"/>
        <c:auto val="1"/>
        <c:lblAlgn val="ctr"/>
        <c:lblOffset val="100"/>
        <c:tickLblSkip val="1"/>
        <c:tickMarkSkip val="1"/>
      </c:catAx>
      <c:valAx>
        <c:axId val="52002176"/>
        <c:scaling>
          <c:orientation val="minMax"/>
          <c:min val="-0.2"/>
        </c:scaling>
        <c:delete val="1"/>
        <c:axPos val="l"/>
        <c:numFmt formatCode="#,###," sourceLinked="1"/>
        <c:tickLblPos val="none"/>
        <c:crossAx val="52000640"/>
        <c:crosses val="autoZero"/>
        <c:crossBetween val="between"/>
        <c:majorUnit val="200000"/>
      </c:valAx>
      <c:spPr>
        <a:noFill/>
        <a:ln w="25400">
          <a:noFill/>
        </a:ln>
      </c:spPr>
    </c:plotArea>
    <c:plotVisOnly val="1"/>
    <c:dispBlanksAs val="gap"/>
  </c:chart>
  <c:spPr>
    <a:noFill/>
    <a:ln w="9525">
      <a:noFill/>
    </a:ln>
  </c:spPr>
  <c:txPr>
    <a:bodyPr/>
    <a:lstStyle/>
    <a:p>
      <a:pPr>
        <a:defRPr sz="9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2:$J$2</c:f>
              <c:strCache>
                <c:ptCount val="1"/>
                <c:pt idx="0">
                  <c:v>Shock/Denial (1) Anger (2) Nostalgia (2) Fear (14) Bargaining (31) Choice/Decision (26) Curiosity (20) Readjustment (69) Commitment (7)</c:v>
                </c:pt>
              </c:strCache>
            </c:strRef>
          </c:tx>
          <c:spPr>
            <a:solidFill>
              <a:srgbClr val="0091D2"/>
            </a:solidFill>
          </c:spPr>
          <c:cat>
            <c:strRef>
              <c:f>Sheet1!$B$2:$J$2</c:f>
              <c:strCache>
                <c:ptCount val="9"/>
                <c:pt idx="0">
                  <c:v>Shock/Denial (1)</c:v>
                </c:pt>
                <c:pt idx="1">
                  <c:v>Anger (2)</c:v>
                </c:pt>
                <c:pt idx="2">
                  <c:v>Nostalgia (2)</c:v>
                </c:pt>
                <c:pt idx="3">
                  <c:v>Fear (14)</c:v>
                </c:pt>
                <c:pt idx="4">
                  <c:v>Bargaining (31)</c:v>
                </c:pt>
                <c:pt idx="5">
                  <c:v>Choice/Decision (26)</c:v>
                </c:pt>
                <c:pt idx="6">
                  <c:v>Curiosity (20)</c:v>
                </c:pt>
                <c:pt idx="7">
                  <c:v>Readjustment (69)</c:v>
                </c:pt>
                <c:pt idx="8">
                  <c:v>Commitment (7)</c:v>
                </c:pt>
              </c:strCache>
            </c:strRef>
          </c:cat>
          <c:val>
            <c:numRef>
              <c:f>Sheet1!$B$1:$J$1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14</c:v>
                </c:pt>
                <c:pt idx="4">
                  <c:v>31</c:v>
                </c:pt>
                <c:pt idx="5">
                  <c:v>26</c:v>
                </c:pt>
                <c:pt idx="6">
                  <c:v>20</c:v>
                </c:pt>
                <c:pt idx="7">
                  <c:v>69</c:v>
                </c:pt>
                <c:pt idx="8">
                  <c:v>7</c:v>
                </c:pt>
              </c:numCache>
            </c:numRef>
          </c:val>
        </c:ser>
        <c:axId val="52109312"/>
        <c:axId val="52110848"/>
      </c:barChart>
      <c:catAx>
        <c:axId val="52109312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52110848"/>
        <c:crosses val="autoZero"/>
        <c:auto val="1"/>
        <c:lblAlgn val="ctr"/>
        <c:lblOffset val="100"/>
      </c:catAx>
      <c:valAx>
        <c:axId val="52110848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52109312"/>
        <c:crosses val="autoZero"/>
        <c:crossBetween val="between"/>
      </c:valAx>
    </c:plotArea>
    <c:plotVisOnly val="1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C07CF0B-0F91-47D6-A851-BBE88ABC5E18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E20011C-CF93-426B-A76B-965E706A8855}">
      <dgm:prSet phldrT="[Text]" custT="1"/>
      <dgm:spPr/>
      <dgm:t>
        <a:bodyPr/>
        <a:lstStyle/>
        <a:p>
          <a:r>
            <a:rPr lang="en-US" sz="1800" dirty="0" smtClean="0"/>
            <a:t>CCO</a:t>
          </a:r>
          <a:br>
            <a:rPr lang="en-US" sz="1800" dirty="0" smtClean="0"/>
          </a:br>
          <a:r>
            <a:rPr lang="en-US" sz="1800" dirty="0" smtClean="0"/>
            <a:t/>
          </a:r>
          <a:br>
            <a:rPr lang="en-US" sz="1800" dirty="0" smtClean="0"/>
          </a:br>
          <a:r>
            <a:rPr lang="en-US" sz="1400" dirty="0" smtClean="0"/>
            <a:t>Ferdinand </a:t>
          </a:r>
          <a:r>
            <a:rPr lang="en-US" sz="1400" dirty="0" err="1" smtClean="0"/>
            <a:t>Kayser</a:t>
          </a:r>
          <a:endParaRPr lang="en-US" sz="1400" dirty="0"/>
        </a:p>
      </dgm:t>
    </dgm:pt>
    <dgm:pt modelId="{0003992D-365E-4F51-B816-D4CEE33E140A}" type="parTrans" cxnId="{1847CCAA-A27A-442C-9AE6-2FE7D21FFD3F}">
      <dgm:prSet/>
      <dgm:spPr/>
      <dgm:t>
        <a:bodyPr/>
        <a:lstStyle/>
        <a:p>
          <a:endParaRPr lang="en-US"/>
        </a:p>
      </dgm:t>
    </dgm:pt>
    <dgm:pt modelId="{C4442945-ABE2-4082-B11F-8F0740ACB15B}" type="sibTrans" cxnId="{1847CCAA-A27A-442C-9AE6-2FE7D21FFD3F}">
      <dgm:prSet/>
      <dgm:spPr/>
      <dgm:t>
        <a:bodyPr/>
        <a:lstStyle/>
        <a:p>
          <a:endParaRPr lang="en-US"/>
        </a:p>
      </dgm:t>
    </dgm:pt>
    <dgm:pt modelId="{5B942FD1-DB06-410F-A515-44DDE26F2708}">
      <dgm:prSet phldrT="[Text]" custT="1"/>
      <dgm:spPr/>
      <dgm:t>
        <a:bodyPr/>
        <a:lstStyle/>
        <a:p>
          <a:r>
            <a:rPr lang="en-US" sz="1800" dirty="0" smtClean="0"/>
            <a:t>Commercial Europe</a:t>
          </a:r>
          <a:br>
            <a:rPr lang="en-US" sz="1800" dirty="0" smtClean="0"/>
          </a:br>
          <a:r>
            <a:rPr lang="en-US" sz="1800" dirty="0" smtClean="0"/>
            <a:t/>
          </a:r>
          <a:br>
            <a:rPr lang="en-US" sz="1800" dirty="0" smtClean="0"/>
          </a:br>
          <a:r>
            <a:rPr lang="en-US" sz="1400" dirty="0" smtClean="0"/>
            <a:t>Norbert </a:t>
          </a:r>
          <a:r>
            <a:rPr lang="en-US" sz="1400" dirty="0" err="1" smtClean="0"/>
            <a:t>Hoelzle</a:t>
          </a:r>
          <a:endParaRPr lang="en-US" sz="1400" dirty="0"/>
        </a:p>
      </dgm:t>
    </dgm:pt>
    <dgm:pt modelId="{710A28CF-2FF8-4340-92EA-ADD312BB31CF}" type="parTrans" cxnId="{98E348A6-94F2-49F8-9EEA-9A6314912D36}">
      <dgm:prSet/>
      <dgm:spPr/>
      <dgm:t>
        <a:bodyPr/>
        <a:lstStyle/>
        <a:p>
          <a:endParaRPr lang="en-US"/>
        </a:p>
      </dgm:t>
    </dgm:pt>
    <dgm:pt modelId="{33D98B16-E4D3-40D0-9FAA-5A6CFD1E55B5}" type="sibTrans" cxnId="{98E348A6-94F2-49F8-9EEA-9A6314912D36}">
      <dgm:prSet/>
      <dgm:spPr/>
      <dgm:t>
        <a:bodyPr/>
        <a:lstStyle/>
        <a:p>
          <a:endParaRPr lang="en-US"/>
        </a:p>
      </dgm:t>
    </dgm:pt>
    <dgm:pt modelId="{E9814803-4396-4D05-90D0-D49CBEF6776C}">
      <dgm:prSet phldrT="[Text]" custT="1"/>
      <dgm:spPr/>
      <dgm:t>
        <a:bodyPr/>
        <a:lstStyle/>
        <a:p>
          <a:r>
            <a:rPr lang="en-US" sz="1800" dirty="0" smtClean="0"/>
            <a:t>Commercial Global</a:t>
          </a:r>
          <a:br>
            <a:rPr lang="en-US" sz="1800" dirty="0" smtClean="0"/>
          </a:br>
          <a:r>
            <a:rPr lang="en-US" sz="1800" dirty="0" smtClean="0"/>
            <a:t/>
          </a:r>
          <a:br>
            <a:rPr lang="en-US" sz="1800" dirty="0" smtClean="0"/>
          </a:br>
          <a:r>
            <a:rPr lang="en-US" sz="1400" dirty="0" smtClean="0"/>
            <a:t>Scott Sprague</a:t>
          </a:r>
          <a:endParaRPr lang="en-US" sz="1400" dirty="0"/>
        </a:p>
      </dgm:t>
    </dgm:pt>
    <dgm:pt modelId="{D4D88A12-60E8-49FB-A244-657FA783FB9B}" type="parTrans" cxnId="{A05DC080-7465-4060-9B64-ABA492A8D150}">
      <dgm:prSet/>
      <dgm:spPr/>
      <dgm:t>
        <a:bodyPr/>
        <a:lstStyle/>
        <a:p>
          <a:endParaRPr lang="en-US"/>
        </a:p>
      </dgm:t>
    </dgm:pt>
    <dgm:pt modelId="{0EDC0314-F059-4906-82BF-9438E902576E}" type="sibTrans" cxnId="{A05DC080-7465-4060-9B64-ABA492A8D150}">
      <dgm:prSet/>
      <dgm:spPr/>
      <dgm:t>
        <a:bodyPr/>
        <a:lstStyle/>
        <a:p>
          <a:endParaRPr lang="en-US"/>
        </a:p>
      </dgm:t>
    </dgm:pt>
    <dgm:pt modelId="{E3BC1C69-21AC-4D0C-9F0E-FB3174A985A4}">
      <dgm:prSet phldrT="[Text]" custT="1"/>
      <dgm:spPr/>
      <dgm:t>
        <a:bodyPr/>
        <a:lstStyle/>
        <a:p>
          <a:r>
            <a:rPr lang="en-US" sz="1800" dirty="0" smtClean="0"/>
            <a:t>Marketing</a:t>
          </a:r>
        </a:p>
        <a:p>
          <a:r>
            <a:rPr lang="en-US" sz="2400" dirty="0" smtClean="0"/>
            <a:t/>
          </a:r>
          <a:br>
            <a:rPr lang="en-US" sz="2400" dirty="0" smtClean="0"/>
          </a:br>
          <a:r>
            <a:rPr lang="en-US" sz="1400" dirty="0" smtClean="0"/>
            <a:t>N. </a:t>
          </a:r>
          <a:r>
            <a:rPr lang="en-US" sz="1400" dirty="0" err="1" smtClean="0"/>
            <a:t>Friese</a:t>
          </a:r>
          <a:r>
            <a:rPr lang="en-US" sz="1400" dirty="0" smtClean="0"/>
            <a:t>-Greene</a:t>
          </a:r>
          <a:endParaRPr lang="en-US" sz="1400" dirty="0"/>
        </a:p>
      </dgm:t>
    </dgm:pt>
    <dgm:pt modelId="{0DB04C6B-4105-4341-AC54-6CB48B36CC30}" type="parTrans" cxnId="{15B49113-001F-4007-81CD-E1EFE805ECB3}">
      <dgm:prSet/>
      <dgm:spPr/>
      <dgm:t>
        <a:bodyPr/>
        <a:lstStyle/>
        <a:p>
          <a:endParaRPr lang="en-US"/>
        </a:p>
      </dgm:t>
    </dgm:pt>
    <dgm:pt modelId="{D353B6AF-FA05-42FA-BF52-7E3279797E20}" type="sibTrans" cxnId="{15B49113-001F-4007-81CD-E1EFE805ECB3}">
      <dgm:prSet/>
      <dgm:spPr/>
      <dgm:t>
        <a:bodyPr/>
        <a:lstStyle/>
        <a:p>
          <a:endParaRPr lang="en-US"/>
        </a:p>
      </dgm:t>
    </dgm:pt>
    <dgm:pt modelId="{AA00FC97-B7D8-4253-A802-204A473104AF}">
      <dgm:prSet phldrT="[Text]" custT="1"/>
      <dgm:spPr/>
      <dgm:t>
        <a:bodyPr/>
        <a:lstStyle/>
        <a:p>
          <a:r>
            <a:rPr lang="en-US" sz="1800" dirty="0" smtClean="0"/>
            <a:t>Product Development</a:t>
          </a:r>
          <a:br>
            <a:rPr lang="en-US" sz="1800" dirty="0" smtClean="0"/>
          </a:br>
          <a:r>
            <a:rPr lang="en-US" sz="1800" dirty="0" smtClean="0"/>
            <a:t/>
          </a:r>
          <a:br>
            <a:rPr lang="en-US" sz="1800" dirty="0" smtClean="0"/>
          </a:br>
          <a:r>
            <a:rPr lang="en-US" sz="1400" dirty="0" err="1" smtClean="0"/>
            <a:t>Wilfried</a:t>
          </a:r>
          <a:r>
            <a:rPr lang="en-US" sz="1400" dirty="0" smtClean="0"/>
            <a:t> </a:t>
          </a:r>
          <a:r>
            <a:rPr lang="en-US" sz="1400" dirty="0" err="1" smtClean="0"/>
            <a:t>Urner</a:t>
          </a:r>
          <a:endParaRPr lang="en-US" sz="1400" dirty="0"/>
        </a:p>
      </dgm:t>
    </dgm:pt>
    <dgm:pt modelId="{5BF8BDC6-26AF-43C2-822D-8D188D356CB4}" type="parTrans" cxnId="{C0C9DA9F-C667-467F-B90A-48BFA5F9B22B}">
      <dgm:prSet/>
      <dgm:spPr/>
      <dgm:t>
        <a:bodyPr/>
        <a:lstStyle/>
        <a:p>
          <a:endParaRPr lang="en-US"/>
        </a:p>
      </dgm:t>
    </dgm:pt>
    <dgm:pt modelId="{34FBB9BC-CE63-4195-A18F-A2760A529957}" type="sibTrans" cxnId="{C0C9DA9F-C667-467F-B90A-48BFA5F9B22B}">
      <dgm:prSet/>
      <dgm:spPr/>
      <dgm:t>
        <a:bodyPr/>
        <a:lstStyle/>
        <a:p>
          <a:endParaRPr lang="en-US"/>
        </a:p>
      </dgm:t>
    </dgm:pt>
    <dgm:pt modelId="{A4CF1864-CC45-4086-A2C6-C8993C5AF715}" type="pres">
      <dgm:prSet presAssocID="{4C07CF0B-0F91-47D6-A851-BBE88ABC5E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3DA2806D-AD7F-4F74-8C6B-E5DCA2AE1AB2}" type="pres">
      <dgm:prSet presAssocID="{AE20011C-CF93-426B-A76B-965E706A8855}" presName="hierRoot1" presStyleCnt="0">
        <dgm:presLayoutVars>
          <dgm:hierBranch val="init"/>
        </dgm:presLayoutVars>
      </dgm:prSet>
      <dgm:spPr/>
    </dgm:pt>
    <dgm:pt modelId="{30BD279E-03EA-4E1B-B0F1-1CDA347B2769}" type="pres">
      <dgm:prSet presAssocID="{AE20011C-CF93-426B-A76B-965E706A8855}" presName="rootComposite1" presStyleCnt="0"/>
      <dgm:spPr/>
    </dgm:pt>
    <dgm:pt modelId="{82121588-6D73-466C-928C-DA2E53BB16D7}" type="pres">
      <dgm:prSet presAssocID="{AE20011C-CF93-426B-A76B-965E706A8855}" presName="rootText1" presStyleLbl="node0" presStyleIdx="0" presStyleCnt="1" custScaleY="1854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3734130-00AF-4AD5-8B35-EB9EB7E22E15}" type="pres">
      <dgm:prSet presAssocID="{AE20011C-CF93-426B-A76B-965E706A8855}" presName="rootConnector1" presStyleLbl="node1" presStyleIdx="0" presStyleCnt="0"/>
      <dgm:spPr/>
      <dgm:t>
        <a:bodyPr/>
        <a:lstStyle/>
        <a:p>
          <a:endParaRPr lang="en-US"/>
        </a:p>
      </dgm:t>
    </dgm:pt>
    <dgm:pt modelId="{79DC879F-8780-423A-8F99-9CEEF51CA0A9}" type="pres">
      <dgm:prSet presAssocID="{AE20011C-CF93-426B-A76B-965E706A8855}" presName="hierChild2" presStyleCnt="0"/>
      <dgm:spPr/>
    </dgm:pt>
    <dgm:pt modelId="{6F00846A-50A2-4757-9AA5-51C942B059B4}" type="pres">
      <dgm:prSet presAssocID="{710A28CF-2FF8-4340-92EA-ADD312BB31CF}" presName="Name37" presStyleLbl="parChTrans1D2" presStyleIdx="0" presStyleCnt="4"/>
      <dgm:spPr/>
      <dgm:t>
        <a:bodyPr/>
        <a:lstStyle/>
        <a:p>
          <a:endParaRPr lang="en-US"/>
        </a:p>
      </dgm:t>
    </dgm:pt>
    <dgm:pt modelId="{AED05064-28FD-4B13-BEB5-11E62A64F703}" type="pres">
      <dgm:prSet presAssocID="{5B942FD1-DB06-410F-A515-44DDE26F2708}" presName="hierRoot2" presStyleCnt="0">
        <dgm:presLayoutVars>
          <dgm:hierBranch val="init"/>
        </dgm:presLayoutVars>
      </dgm:prSet>
      <dgm:spPr/>
    </dgm:pt>
    <dgm:pt modelId="{42BE45DB-CFA3-4EC4-B556-0EAB3394A7B0}" type="pres">
      <dgm:prSet presAssocID="{5B942FD1-DB06-410F-A515-44DDE26F2708}" presName="rootComposite" presStyleCnt="0"/>
      <dgm:spPr/>
    </dgm:pt>
    <dgm:pt modelId="{DFE9C45F-66FD-4CBB-9969-FC080DCCC275}" type="pres">
      <dgm:prSet presAssocID="{5B942FD1-DB06-410F-A515-44DDE26F2708}" presName="rootText" presStyleLbl="node2" presStyleIdx="0" presStyleCnt="4" custScaleY="185406" custLinFactNeighborX="-3362" custLinFactNeighborY="-336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CFF4569-A833-4460-8551-BBBAA9191465}" type="pres">
      <dgm:prSet presAssocID="{5B942FD1-DB06-410F-A515-44DDE26F2708}" presName="rootConnector" presStyleLbl="node2" presStyleIdx="0" presStyleCnt="4"/>
      <dgm:spPr/>
      <dgm:t>
        <a:bodyPr/>
        <a:lstStyle/>
        <a:p>
          <a:endParaRPr lang="en-US"/>
        </a:p>
      </dgm:t>
    </dgm:pt>
    <dgm:pt modelId="{B86B7A33-EBE4-4F30-8C51-3DA9F762323A}" type="pres">
      <dgm:prSet presAssocID="{5B942FD1-DB06-410F-A515-44DDE26F2708}" presName="hierChild4" presStyleCnt="0"/>
      <dgm:spPr/>
    </dgm:pt>
    <dgm:pt modelId="{4C852993-317F-48C2-9AE8-290026C4FE40}" type="pres">
      <dgm:prSet presAssocID="{5B942FD1-DB06-410F-A515-44DDE26F2708}" presName="hierChild5" presStyleCnt="0"/>
      <dgm:spPr/>
    </dgm:pt>
    <dgm:pt modelId="{476B9DEA-AFD2-46FB-9B56-5BEE5337C8B0}" type="pres">
      <dgm:prSet presAssocID="{D4D88A12-60E8-49FB-A244-657FA783FB9B}" presName="Name37" presStyleLbl="parChTrans1D2" presStyleIdx="1" presStyleCnt="4"/>
      <dgm:spPr/>
      <dgm:t>
        <a:bodyPr/>
        <a:lstStyle/>
        <a:p>
          <a:endParaRPr lang="en-US"/>
        </a:p>
      </dgm:t>
    </dgm:pt>
    <dgm:pt modelId="{163701BF-7570-4D1A-9EE3-A7B226E93DAF}" type="pres">
      <dgm:prSet presAssocID="{E9814803-4396-4D05-90D0-D49CBEF6776C}" presName="hierRoot2" presStyleCnt="0">
        <dgm:presLayoutVars>
          <dgm:hierBranch val="init"/>
        </dgm:presLayoutVars>
      </dgm:prSet>
      <dgm:spPr/>
    </dgm:pt>
    <dgm:pt modelId="{6AB395CD-3252-443B-B68A-6604268EA825}" type="pres">
      <dgm:prSet presAssocID="{E9814803-4396-4D05-90D0-D49CBEF6776C}" presName="rootComposite" presStyleCnt="0"/>
      <dgm:spPr/>
    </dgm:pt>
    <dgm:pt modelId="{5A948C86-8CC4-42E0-9D5E-66122E847F99}" type="pres">
      <dgm:prSet presAssocID="{E9814803-4396-4D05-90D0-D49CBEF6776C}" presName="rootText" presStyleLbl="node2" presStyleIdx="1" presStyleCnt="4" custScaleY="1854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4FA8892-5193-4F51-AB5A-9036A9117A61}" type="pres">
      <dgm:prSet presAssocID="{E9814803-4396-4D05-90D0-D49CBEF6776C}" presName="rootConnector" presStyleLbl="node2" presStyleIdx="1" presStyleCnt="4"/>
      <dgm:spPr/>
      <dgm:t>
        <a:bodyPr/>
        <a:lstStyle/>
        <a:p>
          <a:endParaRPr lang="en-US"/>
        </a:p>
      </dgm:t>
    </dgm:pt>
    <dgm:pt modelId="{96335AFA-6510-4B89-A91D-6A8E58C55DD1}" type="pres">
      <dgm:prSet presAssocID="{E9814803-4396-4D05-90D0-D49CBEF6776C}" presName="hierChild4" presStyleCnt="0"/>
      <dgm:spPr/>
    </dgm:pt>
    <dgm:pt modelId="{82BCA832-90E1-44BA-A909-A5FCB5AD24E2}" type="pres">
      <dgm:prSet presAssocID="{E9814803-4396-4D05-90D0-D49CBEF6776C}" presName="hierChild5" presStyleCnt="0"/>
      <dgm:spPr/>
    </dgm:pt>
    <dgm:pt modelId="{0CB91082-DAA5-4455-8D65-0ED964C39D91}" type="pres">
      <dgm:prSet presAssocID="{5BF8BDC6-26AF-43C2-822D-8D188D356CB4}" presName="Name37" presStyleLbl="parChTrans1D2" presStyleIdx="2" presStyleCnt="4"/>
      <dgm:spPr/>
      <dgm:t>
        <a:bodyPr/>
        <a:lstStyle/>
        <a:p>
          <a:endParaRPr lang="en-US"/>
        </a:p>
      </dgm:t>
    </dgm:pt>
    <dgm:pt modelId="{44440E84-8693-4BC2-92C2-EB1C693ED8EE}" type="pres">
      <dgm:prSet presAssocID="{AA00FC97-B7D8-4253-A802-204A473104AF}" presName="hierRoot2" presStyleCnt="0">
        <dgm:presLayoutVars>
          <dgm:hierBranch val="init"/>
        </dgm:presLayoutVars>
      </dgm:prSet>
      <dgm:spPr/>
    </dgm:pt>
    <dgm:pt modelId="{B8D811A1-B7BD-4C50-AA10-60C32A8A9482}" type="pres">
      <dgm:prSet presAssocID="{AA00FC97-B7D8-4253-A802-204A473104AF}" presName="rootComposite" presStyleCnt="0"/>
      <dgm:spPr/>
    </dgm:pt>
    <dgm:pt modelId="{869FC7DB-6634-4056-861D-813703BCE7C8}" type="pres">
      <dgm:prSet presAssocID="{AA00FC97-B7D8-4253-A802-204A473104AF}" presName="rootText" presStyleLbl="node2" presStyleIdx="2" presStyleCnt="4" custScaleY="1854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38A4953-69D6-4012-9EF3-5F8ACEB3C93E}" type="pres">
      <dgm:prSet presAssocID="{AA00FC97-B7D8-4253-A802-204A473104AF}" presName="rootConnector" presStyleLbl="node2" presStyleIdx="2" presStyleCnt="4"/>
      <dgm:spPr/>
      <dgm:t>
        <a:bodyPr/>
        <a:lstStyle/>
        <a:p>
          <a:endParaRPr lang="en-US"/>
        </a:p>
      </dgm:t>
    </dgm:pt>
    <dgm:pt modelId="{71A69FB3-D05D-4262-B7B8-90EF582FDD89}" type="pres">
      <dgm:prSet presAssocID="{AA00FC97-B7D8-4253-A802-204A473104AF}" presName="hierChild4" presStyleCnt="0"/>
      <dgm:spPr/>
    </dgm:pt>
    <dgm:pt modelId="{A9BD8A1C-1B48-4F00-81AC-DD16A1F4C9AF}" type="pres">
      <dgm:prSet presAssocID="{AA00FC97-B7D8-4253-A802-204A473104AF}" presName="hierChild5" presStyleCnt="0"/>
      <dgm:spPr/>
    </dgm:pt>
    <dgm:pt modelId="{1E02C145-6FEB-4E0C-A287-22F1D069CA6B}" type="pres">
      <dgm:prSet presAssocID="{0DB04C6B-4105-4341-AC54-6CB48B36CC30}" presName="Name37" presStyleLbl="parChTrans1D2" presStyleIdx="3" presStyleCnt="4"/>
      <dgm:spPr/>
      <dgm:t>
        <a:bodyPr/>
        <a:lstStyle/>
        <a:p>
          <a:endParaRPr lang="en-US"/>
        </a:p>
      </dgm:t>
    </dgm:pt>
    <dgm:pt modelId="{C947953C-6D05-464B-B0F5-08AF3475B7B8}" type="pres">
      <dgm:prSet presAssocID="{E3BC1C69-21AC-4D0C-9F0E-FB3174A985A4}" presName="hierRoot2" presStyleCnt="0">
        <dgm:presLayoutVars>
          <dgm:hierBranch val="init"/>
        </dgm:presLayoutVars>
      </dgm:prSet>
      <dgm:spPr/>
    </dgm:pt>
    <dgm:pt modelId="{54AB47D7-0495-4F2A-A730-5428A11BE8F7}" type="pres">
      <dgm:prSet presAssocID="{E3BC1C69-21AC-4D0C-9F0E-FB3174A985A4}" presName="rootComposite" presStyleCnt="0"/>
      <dgm:spPr/>
    </dgm:pt>
    <dgm:pt modelId="{47729327-7C6B-4967-BDC5-3860D592C5DC}" type="pres">
      <dgm:prSet presAssocID="{E3BC1C69-21AC-4D0C-9F0E-FB3174A985A4}" presName="rootText" presStyleLbl="node2" presStyleIdx="3" presStyleCnt="4" custScaleY="1854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2AEB867-6417-4237-A211-7376BBF66EF7}" type="pres">
      <dgm:prSet presAssocID="{E3BC1C69-21AC-4D0C-9F0E-FB3174A985A4}" presName="rootConnector" presStyleLbl="node2" presStyleIdx="3" presStyleCnt="4"/>
      <dgm:spPr/>
      <dgm:t>
        <a:bodyPr/>
        <a:lstStyle/>
        <a:p>
          <a:endParaRPr lang="en-US"/>
        </a:p>
      </dgm:t>
    </dgm:pt>
    <dgm:pt modelId="{ED0E89BD-9B6B-4001-BD65-1870ED3B0440}" type="pres">
      <dgm:prSet presAssocID="{E3BC1C69-21AC-4D0C-9F0E-FB3174A985A4}" presName="hierChild4" presStyleCnt="0"/>
      <dgm:spPr/>
    </dgm:pt>
    <dgm:pt modelId="{BBBAEBC6-7D96-4BCC-B9F4-BFE99DC08189}" type="pres">
      <dgm:prSet presAssocID="{E3BC1C69-21AC-4D0C-9F0E-FB3174A985A4}" presName="hierChild5" presStyleCnt="0"/>
      <dgm:spPr/>
    </dgm:pt>
    <dgm:pt modelId="{DC907873-B527-449E-94D3-C59A0E7A498B}" type="pres">
      <dgm:prSet presAssocID="{AE20011C-CF93-426B-A76B-965E706A8855}" presName="hierChild3" presStyleCnt="0"/>
      <dgm:spPr/>
    </dgm:pt>
  </dgm:ptLst>
  <dgm:cxnLst>
    <dgm:cxn modelId="{5D581B3F-18FB-422E-BF80-7C49036C30D8}" type="presOf" srcId="{E9814803-4396-4D05-90D0-D49CBEF6776C}" destId="{5A948C86-8CC4-42E0-9D5E-66122E847F99}" srcOrd="0" destOrd="0" presId="urn:microsoft.com/office/officeart/2005/8/layout/orgChart1"/>
    <dgm:cxn modelId="{F311E190-B2B8-4BB3-8A51-54CED6A5821F}" type="presOf" srcId="{E9814803-4396-4D05-90D0-D49CBEF6776C}" destId="{34FA8892-5193-4F51-AB5A-9036A9117A61}" srcOrd="1" destOrd="0" presId="urn:microsoft.com/office/officeart/2005/8/layout/orgChart1"/>
    <dgm:cxn modelId="{0CC5872A-AFEF-44B9-95DC-0B3A19163853}" type="presOf" srcId="{5B942FD1-DB06-410F-A515-44DDE26F2708}" destId="{DFE9C45F-66FD-4CBB-9969-FC080DCCC275}" srcOrd="0" destOrd="0" presId="urn:microsoft.com/office/officeart/2005/8/layout/orgChart1"/>
    <dgm:cxn modelId="{C0C9DA9F-C667-467F-B90A-48BFA5F9B22B}" srcId="{AE20011C-CF93-426B-A76B-965E706A8855}" destId="{AA00FC97-B7D8-4253-A802-204A473104AF}" srcOrd="2" destOrd="0" parTransId="{5BF8BDC6-26AF-43C2-822D-8D188D356CB4}" sibTransId="{34FBB9BC-CE63-4195-A18F-A2760A529957}"/>
    <dgm:cxn modelId="{FD20B658-6046-4390-802E-86A2DB6B5001}" type="presOf" srcId="{AE20011C-CF93-426B-A76B-965E706A8855}" destId="{82121588-6D73-466C-928C-DA2E53BB16D7}" srcOrd="0" destOrd="0" presId="urn:microsoft.com/office/officeart/2005/8/layout/orgChart1"/>
    <dgm:cxn modelId="{15B49113-001F-4007-81CD-E1EFE805ECB3}" srcId="{AE20011C-CF93-426B-A76B-965E706A8855}" destId="{E3BC1C69-21AC-4D0C-9F0E-FB3174A985A4}" srcOrd="3" destOrd="0" parTransId="{0DB04C6B-4105-4341-AC54-6CB48B36CC30}" sibTransId="{D353B6AF-FA05-42FA-BF52-7E3279797E20}"/>
    <dgm:cxn modelId="{CDC0D77C-A098-4249-A24C-F3FE7714CE22}" type="presOf" srcId="{AA00FC97-B7D8-4253-A802-204A473104AF}" destId="{338A4953-69D6-4012-9EF3-5F8ACEB3C93E}" srcOrd="1" destOrd="0" presId="urn:microsoft.com/office/officeart/2005/8/layout/orgChart1"/>
    <dgm:cxn modelId="{3FB5D29F-592F-46F9-BE25-19CC10493E26}" type="presOf" srcId="{E3BC1C69-21AC-4D0C-9F0E-FB3174A985A4}" destId="{47729327-7C6B-4967-BDC5-3860D592C5DC}" srcOrd="0" destOrd="0" presId="urn:microsoft.com/office/officeart/2005/8/layout/orgChart1"/>
    <dgm:cxn modelId="{98E348A6-94F2-49F8-9EEA-9A6314912D36}" srcId="{AE20011C-CF93-426B-A76B-965E706A8855}" destId="{5B942FD1-DB06-410F-A515-44DDE26F2708}" srcOrd="0" destOrd="0" parTransId="{710A28CF-2FF8-4340-92EA-ADD312BB31CF}" sibTransId="{33D98B16-E4D3-40D0-9FAA-5A6CFD1E55B5}"/>
    <dgm:cxn modelId="{2605F3D3-61DE-45D6-B314-211FA7D35E00}" type="presOf" srcId="{0DB04C6B-4105-4341-AC54-6CB48B36CC30}" destId="{1E02C145-6FEB-4E0C-A287-22F1D069CA6B}" srcOrd="0" destOrd="0" presId="urn:microsoft.com/office/officeart/2005/8/layout/orgChart1"/>
    <dgm:cxn modelId="{B1D1E181-4DF5-4621-A40F-48D9B5036024}" type="presOf" srcId="{D4D88A12-60E8-49FB-A244-657FA783FB9B}" destId="{476B9DEA-AFD2-46FB-9B56-5BEE5337C8B0}" srcOrd="0" destOrd="0" presId="urn:microsoft.com/office/officeart/2005/8/layout/orgChart1"/>
    <dgm:cxn modelId="{1847CCAA-A27A-442C-9AE6-2FE7D21FFD3F}" srcId="{4C07CF0B-0F91-47D6-A851-BBE88ABC5E18}" destId="{AE20011C-CF93-426B-A76B-965E706A8855}" srcOrd="0" destOrd="0" parTransId="{0003992D-365E-4F51-B816-D4CEE33E140A}" sibTransId="{C4442945-ABE2-4082-B11F-8F0740ACB15B}"/>
    <dgm:cxn modelId="{A05DC080-7465-4060-9B64-ABA492A8D150}" srcId="{AE20011C-CF93-426B-A76B-965E706A8855}" destId="{E9814803-4396-4D05-90D0-D49CBEF6776C}" srcOrd="1" destOrd="0" parTransId="{D4D88A12-60E8-49FB-A244-657FA783FB9B}" sibTransId="{0EDC0314-F059-4906-82BF-9438E902576E}"/>
    <dgm:cxn modelId="{99BD04F8-3880-4C70-B20C-927AFC6A904D}" type="presOf" srcId="{E3BC1C69-21AC-4D0C-9F0E-FB3174A985A4}" destId="{72AEB867-6417-4237-A211-7376BBF66EF7}" srcOrd="1" destOrd="0" presId="urn:microsoft.com/office/officeart/2005/8/layout/orgChart1"/>
    <dgm:cxn modelId="{983F91C0-BD71-4F1F-9D17-2FE04B341F61}" type="presOf" srcId="{AA00FC97-B7D8-4253-A802-204A473104AF}" destId="{869FC7DB-6634-4056-861D-813703BCE7C8}" srcOrd="0" destOrd="0" presId="urn:microsoft.com/office/officeart/2005/8/layout/orgChart1"/>
    <dgm:cxn modelId="{B02052A0-0C81-4C3F-B4A2-9538BDA75718}" type="presOf" srcId="{AE20011C-CF93-426B-A76B-965E706A8855}" destId="{B3734130-00AF-4AD5-8B35-EB9EB7E22E15}" srcOrd="1" destOrd="0" presId="urn:microsoft.com/office/officeart/2005/8/layout/orgChart1"/>
    <dgm:cxn modelId="{3FCEAE72-3DD6-44DD-BBD7-06036AD7094B}" type="presOf" srcId="{710A28CF-2FF8-4340-92EA-ADD312BB31CF}" destId="{6F00846A-50A2-4757-9AA5-51C942B059B4}" srcOrd="0" destOrd="0" presId="urn:microsoft.com/office/officeart/2005/8/layout/orgChart1"/>
    <dgm:cxn modelId="{B2D87424-BF71-4347-9DB6-95A6213063D6}" type="presOf" srcId="{4C07CF0B-0F91-47D6-A851-BBE88ABC5E18}" destId="{A4CF1864-CC45-4086-A2C6-C8993C5AF715}" srcOrd="0" destOrd="0" presId="urn:microsoft.com/office/officeart/2005/8/layout/orgChart1"/>
    <dgm:cxn modelId="{A85031C3-AD7C-4497-B620-301380566BF7}" type="presOf" srcId="{5BF8BDC6-26AF-43C2-822D-8D188D356CB4}" destId="{0CB91082-DAA5-4455-8D65-0ED964C39D91}" srcOrd="0" destOrd="0" presId="urn:microsoft.com/office/officeart/2005/8/layout/orgChart1"/>
    <dgm:cxn modelId="{83F25954-B8A8-4EEF-A625-B4E269B00784}" type="presOf" srcId="{5B942FD1-DB06-410F-A515-44DDE26F2708}" destId="{8CFF4569-A833-4460-8551-BBBAA9191465}" srcOrd="1" destOrd="0" presId="urn:microsoft.com/office/officeart/2005/8/layout/orgChart1"/>
    <dgm:cxn modelId="{5F11DFD3-567C-4D5A-B7C8-025C2F72D26D}" type="presParOf" srcId="{A4CF1864-CC45-4086-A2C6-C8993C5AF715}" destId="{3DA2806D-AD7F-4F74-8C6B-E5DCA2AE1AB2}" srcOrd="0" destOrd="0" presId="urn:microsoft.com/office/officeart/2005/8/layout/orgChart1"/>
    <dgm:cxn modelId="{6E748459-8DF4-4A22-AF31-A52DAFB04C3B}" type="presParOf" srcId="{3DA2806D-AD7F-4F74-8C6B-E5DCA2AE1AB2}" destId="{30BD279E-03EA-4E1B-B0F1-1CDA347B2769}" srcOrd="0" destOrd="0" presId="urn:microsoft.com/office/officeart/2005/8/layout/orgChart1"/>
    <dgm:cxn modelId="{81854911-CD5B-496C-9A24-9FEE8691F0D5}" type="presParOf" srcId="{30BD279E-03EA-4E1B-B0F1-1CDA347B2769}" destId="{82121588-6D73-466C-928C-DA2E53BB16D7}" srcOrd="0" destOrd="0" presId="urn:microsoft.com/office/officeart/2005/8/layout/orgChart1"/>
    <dgm:cxn modelId="{CA0E5994-CCA7-4B78-B32B-AA21875980E1}" type="presParOf" srcId="{30BD279E-03EA-4E1B-B0F1-1CDA347B2769}" destId="{B3734130-00AF-4AD5-8B35-EB9EB7E22E15}" srcOrd="1" destOrd="0" presId="urn:microsoft.com/office/officeart/2005/8/layout/orgChart1"/>
    <dgm:cxn modelId="{8C40C3F9-4779-417B-8DBE-B04E36D03680}" type="presParOf" srcId="{3DA2806D-AD7F-4F74-8C6B-E5DCA2AE1AB2}" destId="{79DC879F-8780-423A-8F99-9CEEF51CA0A9}" srcOrd="1" destOrd="0" presId="urn:microsoft.com/office/officeart/2005/8/layout/orgChart1"/>
    <dgm:cxn modelId="{3A7E03A7-F120-4CB4-8D44-F8F9DCA84593}" type="presParOf" srcId="{79DC879F-8780-423A-8F99-9CEEF51CA0A9}" destId="{6F00846A-50A2-4757-9AA5-51C942B059B4}" srcOrd="0" destOrd="0" presId="urn:microsoft.com/office/officeart/2005/8/layout/orgChart1"/>
    <dgm:cxn modelId="{B9D31C57-A7AF-47E7-9A2B-1AA46F5F80F1}" type="presParOf" srcId="{79DC879F-8780-423A-8F99-9CEEF51CA0A9}" destId="{AED05064-28FD-4B13-BEB5-11E62A64F703}" srcOrd="1" destOrd="0" presId="urn:microsoft.com/office/officeart/2005/8/layout/orgChart1"/>
    <dgm:cxn modelId="{243F5FAA-B43E-4210-8CDD-9332C5F20CA0}" type="presParOf" srcId="{AED05064-28FD-4B13-BEB5-11E62A64F703}" destId="{42BE45DB-CFA3-4EC4-B556-0EAB3394A7B0}" srcOrd="0" destOrd="0" presId="urn:microsoft.com/office/officeart/2005/8/layout/orgChart1"/>
    <dgm:cxn modelId="{5C60C204-3252-47D1-9D39-91B1E7485A57}" type="presParOf" srcId="{42BE45DB-CFA3-4EC4-B556-0EAB3394A7B0}" destId="{DFE9C45F-66FD-4CBB-9969-FC080DCCC275}" srcOrd="0" destOrd="0" presId="urn:microsoft.com/office/officeart/2005/8/layout/orgChart1"/>
    <dgm:cxn modelId="{AD31917F-F04A-41C0-A486-C95DE328CB84}" type="presParOf" srcId="{42BE45DB-CFA3-4EC4-B556-0EAB3394A7B0}" destId="{8CFF4569-A833-4460-8551-BBBAA9191465}" srcOrd="1" destOrd="0" presId="urn:microsoft.com/office/officeart/2005/8/layout/orgChart1"/>
    <dgm:cxn modelId="{06C44CBD-CEE3-4BD2-BC8E-170C3F7789A8}" type="presParOf" srcId="{AED05064-28FD-4B13-BEB5-11E62A64F703}" destId="{B86B7A33-EBE4-4F30-8C51-3DA9F762323A}" srcOrd="1" destOrd="0" presId="urn:microsoft.com/office/officeart/2005/8/layout/orgChart1"/>
    <dgm:cxn modelId="{327EC9FB-3856-4C27-BD68-22C64F617456}" type="presParOf" srcId="{AED05064-28FD-4B13-BEB5-11E62A64F703}" destId="{4C852993-317F-48C2-9AE8-290026C4FE40}" srcOrd="2" destOrd="0" presId="urn:microsoft.com/office/officeart/2005/8/layout/orgChart1"/>
    <dgm:cxn modelId="{3D6ED37B-5DB2-4032-9499-ED4358DF6EF2}" type="presParOf" srcId="{79DC879F-8780-423A-8F99-9CEEF51CA0A9}" destId="{476B9DEA-AFD2-46FB-9B56-5BEE5337C8B0}" srcOrd="2" destOrd="0" presId="urn:microsoft.com/office/officeart/2005/8/layout/orgChart1"/>
    <dgm:cxn modelId="{B69596B5-F195-4228-B8C5-3F9454E475EF}" type="presParOf" srcId="{79DC879F-8780-423A-8F99-9CEEF51CA0A9}" destId="{163701BF-7570-4D1A-9EE3-A7B226E93DAF}" srcOrd="3" destOrd="0" presId="urn:microsoft.com/office/officeart/2005/8/layout/orgChart1"/>
    <dgm:cxn modelId="{5DB6A2E6-A785-471F-A0BF-78F19E34A478}" type="presParOf" srcId="{163701BF-7570-4D1A-9EE3-A7B226E93DAF}" destId="{6AB395CD-3252-443B-B68A-6604268EA825}" srcOrd="0" destOrd="0" presId="urn:microsoft.com/office/officeart/2005/8/layout/orgChart1"/>
    <dgm:cxn modelId="{926085E3-2372-428C-9648-786F3F343B03}" type="presParOf" srcId="{6AB395CD-3252-443B-B68A-6604268EA825}" destId="{5A948C86-8CC4-42E0-9D5E-66122E847F99}" srcOrd="0" destOrd="0" presId="urn:microsoft.com/office/officeart/2005/8/layout/orgChart1"/>
    <dgm:cxn modelId="{BE919DFD-80F9-477D-9037-851850EB9955}" type="presParOf" srcId="{6AB395CD-3252-443B-B68A-6604268EA825}" destId="{34FA8892-5193-4F51-AB5A-9036A9117A61}" srcOrd="1" destOrd="0" presId="urn:microsoft.com/office/officeart/2005/8/layout/orgChart1"/>
    <dgm:cxn modelId="{5CBEFD19-FD4E-4339-8C00-4410728C482A}" type="presParOf" srcId="{163701BF-7570-4D1A-9EE3-A7B226E93DAF}" destId="{96335AFA-6510-4B89-A91D-6A8E58C55DD1}" srcOrd="1" destOrd="0" presId="urn:microsoft.com/office/officeart/2005/8/layout/orgChart1"/>
    <dgm:cxn modelId="{6D64C497-11E3-4F25-B246-502E05DAEFE3}" type="presParOf" srcId="{163701BF-7570-4D1A-9EE3-A7B226E93DAF}" destId="{82BCA832-90E1-44BA-A909-A5FCB5AD24E2}" srcOrd="2" destOrd="0" presId="urn:microsoft.com/office/officeart/2005/8/layout/orgChart1"/>
    <dgm:cxn modelId="{C4C56E0B-A3B5-449E-A9DD-7F846E2010DE}" type="presParOf" srcId="{79DC879F-8780-423A-8F99-9CEEF51CA0A9}" destId="{0CB91082-DAA5-4455-8D65-0ED964C39D91}" srcOrd="4" destOrd="0" presId="urn:microsoft.com/office/officeart/2005/8/layout/orgChart1"/>
    <dgm:cxn modelId="{6A649D44-03E9-4E38-9046-4914DE065A43}" type="presParOf" srcId="{79DC879F-8780-423A-8F99-9CEEF51CA0A9}" destId="{44440E84-8693-4BC2-92C2-EB1C693ED8EE}" srcOrd="5" destOrd="0" presId="urn:microsoft.com/office/officeart/2005/8/layout/orgChart1"/>
    <dgm:cxn modelId="{0F196782-765C-4732-AC19-51D173601191}" type="presParOf" srcId="{44440E84-8693-4BC2-92C2-EB1C693ED8EE}" destId="{B8D811A1-B7BD-4C50-AA10-60C32A8A9482}" srcOrd="0" destOrd="0" presId="urn:microsoft.com/office/officeart/2005/8/layout/orgChart1"/>
    <dgm:cxn modelId="{AB525DB9-CF52-48E7-BD8D-9B861BDB520C}" type="presParOf" srcId="{B8D811A1-B7BD-4C50-AA10-60C32A8A9482}" destId="{869FC7DB-6634-4056-861D-813703BCE7C8}" srcOrd="0" destOrd="0" presId="urn:microsoft.com/office/officeart/2005/8/layout/orgChart1"/>
    <dgm:cxn modelId="{56D964D3-B048-4EC1-94DC-915FEB33EEB7}" type="presParOf" srcId="{B8D811A1-B7BD-4C50-AA10-60C32A8A9482}" destId="{338A4953-69D6-4012-9EF3-5F8ACEB3C93E}" srcOrd="1" destOrd="0" presId="urn:microsoft.com/office/officeart/2005/8/layout/orgChart1"/>
    <dgm:cxn modelId="{951EEAD8-123B-45C7-ABC7-829CF613B0E8}" type="presParOf" srcId="{44440E84-8693-4BC2-92C2-EB1C693ED8EE}" destId="{71A69FB3-D05D-4262-B7B8-90EF582FDD89}" srcOrd="1" destOrd="0" presId="urn:microsoft.com/office/officeart/2005/8/layout/orgChart1"/>
    <dgm:cxn modelId="{BB711D80-D8C2-4F67-8CA7-6001C8C49BA5}" type="presParOf" srcId="{44440E84-8693-4BC2-92C2-EB1C693ED8EE}" destId="{A9BD8A1C-1B48-4F00-81AC-DD16A1F4C9AF}" srcOrd="2" destOrd="0" presId="urn:microsoft.com/office/officeart/2005/8/layout/orgChart1"/>
    <dgm:cxn modelId="{84F76C4A-E330-47D8-B02D-F35958CCBB18}" type="presParOf" srcId="{79DC879F-8780-423A-8F99-9CEEF51CA0A9}" destId="{1E02C145-6FEB-4E0C-A287-22F1D069CA6B}" srcOrd="6" destOrd="0" presId="urn:microsoft.com/office/officeart/2005/8/layout/orgChart1"/>
    <dgm:cxn modelId="{757E276E-F8BF-4450-AC27-B13EBEE1B2D4}" type="presParOf" srcId="{79DC879F-8780-423A-8F99-9CEEF51CA0A9}" destId="{C947953C-6D05-464B-B0F5-08AF3475B7B8}" srcOrd="7" destOrd="0" presId="urn:microsoft.com/office/officeart/2005/8/layout/orgChart1"/>
    <dgm:cxn modelId="{6207BFF9-189A-4809-9CAF-DE36F1A8E443}" type="presParOf" srcId="{C947953C-6D05-464B-B0F5-08AF3475B7B8}" destId="{54AB47D7-0495-4F2A-A730-5428A11BE8F7}" srcOrd="0" destOrd="0" presId="urn:microsoft.com/office/officeart/2005/8/layout/orgChart1"/>
    <dgm:cxn modelId="{8F8D590C-FFF2-428F-B702-62D882C3D5A5}" type="presParOf" srcId="{54AB47D7-0495-4F2A-A730-5428A11BE8F7}" destId="{47729327-7C6B-4967-BDC5-3860D592C5DC}" srcOrd="0" destOrd="0" presId="urn:microsoft.com/office/officeart/2005/8/layout/orgChart1"/>
    <dgm:cxn modelId="{ADEFA5D7-C7BF-4127-8AC8-6F149785CAD8}" type="presParOf" srcId="{54AB47D7-0495-4F2A-A730-5428A11BE8F7}" destId="{72AEB867-6417-4237-A211-7376BBF66EF7}" srcOrd="1" destOrd="0" presId="urn:microsoft.com/office/officeart/2005/8/layout/orgChart1"/>
    <dgm:cxn modelId="{BA6C5360-599D-438A-9724-2D64A764CCEA}" type="presParOf" srcId="{C947953C-6D05-464B-B0F5-08AF3475B7B8}" destId="{ED0E89BD-9B6B-4001-BD65-1870ED3B0440}" srcOrd="1" destOrd="0" presId="urn:microsoft.com/office/officeart/2005/8/layout/orgChart1"/>
    <dgm:cxn modelId="{ADDA10C1-A14D-4F6A-871E-D0E6A26C2F1E}" type="presParOf" srcId="{C947953C-6D05-464B-B0F5-08AF3475B7B8}" destId="{BBBAEBC6-7D96-4BCC-B9F4-BFE99DC08189}" srcOrd="2" destOrd="0" presId="urn:microsoft.com/office/officeart/2005/8/layout/orgChart1"/>
    <dgm:cxn modelId="{9FB3582B-30E1-42BE-A8B9-E32CAA4BF49E}" type="presParOf" srcId="{3DA2806D-AD7F-4F74-8C6B-E5DCA2AE1AB2}" destId="{DC907873-B527-449E-94D3-C59A0E7A49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60CA96-D885-45EE-80C3-2C77DB62E79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CAFA93-9FEF-4E5F-9642-88CD5E42F757}">
      <dgm:prSet phldrT="[Text]" custT="1"/>
      <dgm:spPr/>
      <dgm:t>
        <a:bodyPr/>
        <a:lstStyle/>
        <a:p>
          <a:r>
            <a:rPr lang="en-US" sz="1400" dirty="0" smtClean="0"/>
            <a:t>CCO</a:t>
          </a:r>
        </a:p>
        <a:p>
          <a:r>
            <a:rPr lang="en-US" sz="1400" dirty="0" smtClean="0"/>
            <a:t/>
          </a:r>
          <a:br>
            <a:rPr lang="en-US" sz="1400" dirty="0" smtClean="0"/>
          </a:br>
          <a:r>
            <a:rPr lang="en-US" sz="1200" dirty="0" smtClean="0"/>
            <a:t>Ferdinand </a:t>
          </a:r>
          <a:r>
            <a:rPr lang="en-US" sz="1200" dirty="0" err="1" smtClean="0"/>
            <a:t>Kayser</a:t>
          </a:r>
          <a:endParaRPr lang="en-US" sz="1200" dirty="0"/>
        </a:p>
      </dgm:t>
    </dgm:pt>
    <dgm:pt modelId="{FF93D7E9-E276-4010-86B8-CA35EB566BB4}" type="parTrans" cxnId="{1D71BB0B-44EE-475C-B591-803583BD9134}">
      <dgm:prSet/>
      <dgm:spPr/>
      <dgm:t>
        <a:bodyPr/>
        <a:lstStyle/>
        <a:p>
          <a:endParaRPr lang="en-US"/>
        </a:p>
      </dgm:t>
    </dgm:pt>
    <dgm:pt modelId="{4BFAFDC5-09AB-4B7B-8CD5-0FC56849D49C}" type="sibTrans" cxnId="{1D71BB0B-44EE-475C-B591-803583BD9134}">
      <dgm:prSet/>
      <dgm:spPr/>
      <dgm:t>
        <a:bodyPr/>
        <a:lstStyle/>
        <a:p>
          <a:endParaRPr lang="en-US"/>
        </a:p>
      </dgm:t>
    </dgm:pt>
    <dgm:pt modelId="{E449E611-151C-40B5-89E4-1D6462D35D1C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Commercial Europe</a:t>
          </a:r>
        </a:p>
        <a:p>
          <a:endParaRPr lang="en-US" sz="1200" dirty="0" smtClean="0"/>
        </a:p>
        <a:p>
          <a:r>
            <a:rPr lang="en-US" sz="1200" dirty="0" err="1" smtClean="0"/>
            <a:t>Ferenc</a:t>
          </a:r>
          <a:r>
            <a:rPr lang="en-US" sz="1200" dirty="0" smtClean="0"/>
            <a:t> </a:t>
          </a:r>
          <a:r>
            <a:rPr lang="en-US" sz="1200" dirty="0" err="1" smtClean="0"/>
            <a:t>Szelényi</a:t>
          </a:r>
          <a:endParaRPr lang="en-US" sz="1200" dirty="0"/>
        </a:p>
      </dgm:t>
    </dgm:pt>
    <dgm:pt modelId="{120FEEF4-EF49-4919-8800-7804F01BA61F}" type="parTrans" cxnId="{BD2F723D-4ED5-44C2-8858-A277C32BFE2B}">
      <dgm:prSet/>
      <dgm:spPr/>
      <dgm:t>
        <a:bodyPr/>
        <a:lstStyle/>
        <a:p>
          <a:endParaRPr lang="en-US"/>
        </a:p>
      </dgm:t>
    </dgm:pt>
    <dgm:pt modelId="{9829A6F7-A208-468E-810D-E34FE052FD9F}" type="sibTrans" cxnId="{BD2F723D-4ED5-44C2-8858-A277C32BFE2B}">
      <dgm:prSet/>
      <dgm:spPr/>
      <dgm:t>
        <a:bodyPr/>
        <a:lstStyle/>
        <a:p>
          <a:endParaRPr lang="en-US"/>
        </a:p>
      </dgm:t>
    </dgm:pt>
    <dgm:pt modelId="{D1C86818-019E-4929-872E-C12A93842E97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Commercial </a:t>
          </a:r>
          <a:br>
            <a:rPr lang="en-US" sz="1200" dirty="0" smtClean="0"/>
          </a:br>
          <a:r>
            <a:rPr lang="en-US" sz="1200" dirty="0" smtClean="0"/>
            <a:t>Asia</a:t>
          </a:r>
        </a:p>
        <a:p>
          <a:endParaRPr lang="en-US" sz="1200" dirty="0" smtClean="0"/>
        </a:p>
        <a:p>
          <a:r>
            <a:rPr lang="en-US" sz="1200" dirty="0" smtClean="0"/>
            <a:t>Deepak </a:t>
          </a:r>
          <a:r>
            <a:rPr lang="en-US" sz="1200" dirty="0" err="1" smtClean="0"/>
            <a:t>Mathur</a:t>
          </a:r>
          <a:endParaRPr lang="en-US" sz="1200" dirty="0"/>
        </a:p>
      </dgm:t>
    </dgm:pt>
    <dgm:pt modelId="{FE9366EE-10CE-4699-AC22-81D81C326295}" type="parTrans" cxnId="{665FCDDF-95B8-49D8-91AC-0E54EA10B978}">
      <dgm:prSet/>
      <dgm:spPr/>
      <dgm:t>
        <a:bodyPr/>
        <a:lstStyle/>
        <a:p>
          <a:endParaRPr lang="en-US"/>
        </a:p>
      </dgm:t>
    </dgm:pt>
    <dgm:pt modelId="{C1D7264C-AE20-4BAE-ABCD-8F2692AE7DDF}" type="sibTrans" cxnId="{665FCDDF-95B8-49D8-91AC-0E54EA10B978}">
      <dgm:prSet/>
      <dgm:spPr/>
      <dgm:t>
        <a:bodyPr/>
        <a:lstStyle/>
        <a:p>
          <a:endParaRPr lang="en-US"/>
        </a:p>
      </dgm:t>
    </dgm:pt>
    <dgm:pt modelId="{A9D95B63-62F8-4ECF-9FC1-A27DF26CAB45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Product Development </a:t>
          </a:r>
          <a:br>
            <a:rPr lang="en-US" sz="1200" dirty="0" smtClean="0"/>
          </a:br>
          <a:r>
            <a:rPr lang="en-US" sz="1200" dirty="0" smtClean="0"/>
            <a:t>&amp; Solutions </a:t>
          </a:r>
          <a:br>
            <a:rPr lang="en-US" sz="1200" dirty="0" smtClean="0"/>
          </a:br>
          <a:r>
            <a:rPr lang="en-US" sz="1200" dirty="0" smtClean="0"/>
            <a:t>(incl. </a:t>
          </a:r>
          <a:r>
            <a:rPr lang="en-US" sz="1200" dirty="0" err="1" smtClean="0"/>
            <a:t>TechCom</a:t>
          </a:r>
          <a:r>
            <a:rPr lang="en-US" sz="1200" dirty="0" smtClean="0"/>
            <a:t>)</a:t>
          </a:r>
        </a:p>
        <a:p>
          <a:endParaRPr lang="en-US" sz="1200" dirty="0" smtClean="0"/>
        </a:p>
        <a:p>
          <a:r>
            <a:rPr lang="en-US" sz="1200" dirty="0" err="1" smtClean="0"/>
            <a:t>Wilfried</a:t>
          </a:r>
          <a:r>
            <a:rPr lang="en-US" sz="1200" dirty="0" smtClean="0"/>
            <a:t> </a:t>
          </a:r>
          <a:r>
            <a:rPr lang="en-US" sz="1200" dirty="0" err="1" smtClean="0"/>
            <a:t>Urner</a:t>
          </a:r>
          <a:endParaRPr lang="en-US" sz="1200" dirty="0"/>
        </a:p>
      </dgm:t>
    </dgm:pt>
    <dgm:pt modelId="{A5EABCF3-BBA8-4FAC-A75D-1589A1F787B0}" type="parTrans" cxnId="{003D7B92-B86D-4BAE-A10E-BCFF0E04D219}">
      <dgm:prSet/>
      <dgm:spPr/>
      <dgm:t>
        <a:bodyPr/>
        <a:lstStyle/>
        <a:p>
          <a:endParaRPr lang="en-US"/>
        </a:p>
      </dgm:t>
    </dgm:pt>
    <dgm:pt modelId="{850DDB73-8537-4D13-9081-A91FB33C270C}" type="sibTrans" cxnId="{003D7B92-B86D-4BAE-A10E-BCFF0E04D219}">
      <dgm:prSet/>
      <dgm:spPr/>
      <dgm:t>
        <a:bodyPr/>
        <a:lstStyle/>
        <a:p>
          <a:endParaRPr lang="en-US"/>
        </a:p>
      </dgm:t>
    </dgm:pt>
    <dgm:pt modelId="{BF1778F2-7250-4F90-8283-9C14A12453BA}">
      <dgm:prSet phldrT="[Text]" custT="1"/>
      <dgm:spPr/>
      <dgm:t>
        <a:bodyPr/>
        <a:lstStyle/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Marketing</a:t>
          </a:r>
        </a:p>
        <a:p>
          <a:endParaRPr lang="en-US" sz="1200" dirty="0" smtClean="0"/>
        </a:p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err="1" smtClean="0"/>
            <a:t>Niclas</a:t>
          </a:r>
          <a:r>
            <a:rPr lang="en-US" sz="1200" dirty="0" smtClean="0"/>
            <a:t> </a:t>
          </a:r>
          <a:r>
            <a:rPr lang="en-US" sz="1200" dirty="0" err="1" smtClean="0"/>
            <a:t>Friese</a:t>
          </a:r>
          <a:r>
            <a:rPr lang="en-US" sz="1200" dirty="0" smtClean="0"/>
            <a:t>-Greene</a:t>
          </a:r>
          <a:endParaRPr lang="en-US" sz="1200" dirty="0"/>
        </a:p>
      </dgm:t>
    </dgm:pt>
    <dgm:pt modelId="{813C61E0-D61B-4AAE-B6F4-F72B63D42E9A}" type="parTrans" cxnId="{7DE84BA7-D375-4835-8409-3671AA151396}">
      <dgm:prSet/>
      <dgm:spPr/>
      <dgm:t>
        <a:bodyPr/>
        <a:lstStyle/>
        <a:p>
          <a:endParaRPr lang="en-US"/>
        </a:p>
      </dgm:t>
    </dgm:pt>
    <dgm:pt modelId="{1CFC59FC-002F-4354-B2EE-59885CD9FDAE}" type="sibTrans" cxnId="{7DE84BA7-D375-4835-8409-3671AA151396}">
      <dgm:prSet/>
      <dgm:spPr/>
      <dgm:t>
        <a:bodyPr/>
        <a:lstStyle/>
        <a:p>
          <a:endParaRPr lang="en-US"/>
        </a:p>
      </dgm:t>
    </dgm:pt>
    <dgm:pt modelId="{E768FD2A-4D35-46BF-A2DA-C84969808B1E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Commercial Americas</a:t>
          </a:r>
        </a:p>
        <a:p>
          <a:endParaRPr lang="en-US" sz="1200" dirty="0" smtClean="0"/>
        </a:p>
        <a:p>
          <a:r>
            <a:rPr lang="en-US" sz="1200" dirty="0" smtClean="0"/>
            <a:t>Elias </a:t>
          </a:r>
          <a:r>
            <a:rPr lang="en-US" sz="1200" dirty="0" err="1" smtClean="0"/>
            <a:t>Zaccack</a:t>
          </a:r>
          <a:endParaRPr lang="en-US" sz="1200" dirty="0"/>
        </a:p>
      </dgm:t>
    </dgm:pt>
    <dgm:pt modelId="{5CF6D5A0-9B67-4D63-B5C2-F69AD05CC102}" type="parTrans" cxnId="{645FE56B-F2AD-4BB7-910B-BBD17EF56F73}">
      <dgm:prSet/>
      <dgm:spPr/>
      <dgm:t>
        <a:bodyPr/>
        <a:lstStyle/>
        <a:p>
          <a:endParaRPr lang="en-US"/>
        </a:p>
      </dgm:t>
    </dgm:pt>
    <dgm:pt modelId="{2D6915E3-EA68-4451-8281-C845EA45F552}" type="sibTrans" cxnId="{645FE56B-F2AD-4BB7-910B-BBD17EF56F73}">
      <dgm:prSet/>
      <dgm:spPr/>
      <dgm:t>
        <a:bodyPr/>
        <a:lstStyle/>
        <a:p>
          <a:endParaRPr lang="en-US"/>
        </a:p>
      </dgm:t>
    </dgm:pt>
    <dgm:pt modelId="{67B6AB9F-B20E-4146-8633-6004D6145D7B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Commercial Africa</a:t>
          </a:r>
        </a:p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err="1" smtClean="0"/>
            <a:t>Ibrahima</a:t>
          </a:r>
          <a:r>
            <a:rPr lang="en-US" sz="1200" dirty="0" smtClean="0"/>
            <a:t> </a:t>
          </a:r>
          <a:r>
            <a:rPr lang="en-US" sz="1200" dirty="0" err="1" smtClean="0"/>
            <a:t>Guimba-Saidou</a:t>
          </a:r>
          <a:endParaRPr lang="en-US" sz="1200" dirty="0"/>
        </a:p>
      </dgm:t>
    </dgm:pt>
    <dgm:pt modelId="{F9C52E8B-AE4F-4B43-BC6A-F20417BBB2CF}" type="sibTrans" cxnId="{D47B4CB1-4A06-40F7-9640-94CD7DEA55F8}">
      <dgm:prSet/>
      <dgm:spPr/>
      <dgm:t>
        <a:bodyPr/>
        <a:lstStyle/>
        <a:p>
          <a:endParaRPr lang="en-US"/>
        </a:p>
      </dgm:t>
    </dgm:pt>
    <dgm:pt modelId="{1E320E83-014B-4EE3-8DEA-106DC855896F}" type="parTrans" cxnId="{D47B4CB1-4A06-40F7-9640-94CD7DEA55F8}">
      <dgm:prSet/>
      <dgm:spPr/>
      <dgm:t>
        <a:bodyPr/>
        <a:lstStyle/>
        <a:p>
          <a:endParaRPr lang="en-US"/>
        </a:p>
      </dgm:t>
    </dgm:pt>
    <dgm:pt modelId="{B2F626CE-B560-4B17-912F-FDCBC3348BB5}" type="asst">
      <dgm:prSet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Sales Engineering  </a:t>
          </a:r>
          <a:br>
            <a:rPr lang="en-US" sz="1200" dirty="0" smtClean="0"/>
          </a:br>
          <a:r>
            <a:rPr lang="en-US" sz="1200" dirty="0" smtClean="0"/>
            <a:t>Global CAM</a:t>
          </a:r>
        </a:p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Acting: Ferdinand </a:t>
          </a:r>
          <a:r>
            <a:rPr lang="en-US" sz="1200" dirty="0" err="1" smtClean="0"/>
            <a:t>Kayser</a:t>
          </a:r>
          <a:endParaRPr lang="en-US" sz="1200" dirty="0"/>
        </a:p>
      </dgm:t>
    </dgm:pt>
    <dgm:pt modelId="{1BE4E673-6ABA-4B7D-9A09-868E81051E99}" type="parTrans" cxnId="{16862750-F2A9-4F92-A97F-14DF091038FE}">
      <dgm:prSet/>
      <dgm:spPr/>
      <dgm:t>
        <a:bodyPr/>
        <a:lstStyle/>
        <a:p>
          <a:endParaRPr lang="en-US"/>
        </a:p>
      </dgm:t>
    </dgm:pt>
    <dgm:pt modelId="{5A5B91C6-9473-4AC2-BE5C-4E166CDB1A95}" type="sibTrans" cxnId="{16862750-F2A9-4F92-A97F-14DF091038FE}">
      <dgm:prSet/>
      <dgm:spPr/>
      <dgm:t>
        <a:bodyPr/>
        <a:lstStyle/>
        <a:p>
          <a:endParaRPr lang="en-US"/>
        </a:p>
      </dgm:t>
    </dgm:pt>
    <dgm:pt modelId="{429FE55E-84D0-4329-A00D-FA1CAC8C26EA}" type="asst">
      <dgm:prSet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Sales Planning and Operations</a:t>
          </a:r>
        </a:p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err="1" smtClean="0"/>
            <a:t>Sybren</a:t>
          </a:r>
          <a:r>
            <a:rPr lang="en-US" sz="1200" dirty="0" smtClean="0"/>
            <a:t> de </a:t>
          </a:r>
          <a:r>
            <a:rPr lang="en-US" sz="1200" dirty="0" err="1" smtClean="0"/>
            <a:t>Vries</a:t>
          </a:r>
          <a:endParaRPr lang="en-US" sz="1200" dirty="0"/>
        </a:p>
      </dgm:t>
    </dgm:pt>
    <dgm:pt modelId="{363B58C4-5878-4374-998C-F34BB8053D03}" type="parTrans" cxnId="{26E3CE30-A55C-4F75-AC75-29598E68B5EC}">
      <dgm:prSet/>
      <dgm:spPr/>
      <dgm:t>
        <a:bodyPr/>
        <a:lstStyle/>
        <a:p>
          <a:endParaRPr lang="en-US"/>
        </a:p>
      </dgm:t>
    </dgm:pt>
    <dgm:pt modelId="{91315076-8E4A-4D4A-9852-81F54D581327}" type="sibTrans" cxnId="{26E3CE30-A55C-4F75-AC75-29598E68B5EC}">
      <dgm:prSet/>
      <dgm:spPr/>
      <dgm:t>
        <a:bodyPr/>
        <a:lstStyle/>
        <a:p>
          <a:endParaRPr lang="en-US"/>
        </a:p>
      </dgm:t>
    </dgm:pt>
    <dgm:pt modelId="{5F26EB0B-98BB-4103-9CDD-BB9EE9D889B4}" type="pres">
      <dgm:prSet presAssocID="{EF60CA96-D885-45EE-80C3-2C77DB62E79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33DC18B-149C-479F-8BC9-BD8D1195FA34}" type="pres">
      <dgm:prSet presAssocID="{44CAFA93-9FEF-4E5F-9642-88CD5E42F757}" presName="hierRoot1" presStyleCnt="0">
        <dgm:presLayoutVars>
          <dgm:hierBranch val="init"/>
        </dgm:presLayoutVars>
      </dgm:prSet>
      <dgm:spPr/>
    </dgm:pt>
    <dgm:pt modelId="{061A4E60-863E-4629-999C-8DC00B7E0AEA}" type="pres">
      <dgm:prSet presAssocID="{44CAFA93-9FEF-4E5F-9642-88CD5E42F757}" presName="rootComposite1" presStyleCnt="0"/>
      <dgm:spPr/>
    </dgm:pt>
    <dgm:pt modelId="{E54AF0DD-8C8D-4068-8B21-DB050E42C239}" type="pres">
      <dgm:prSet presAssocID="{44CAFA93-9FEF-4E5F-9642-88CD5E42F757}" presName="rootText1" presStyleLbl="node0" presStyleIdx="0" presStyleCnt="1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621643-E79A-40DA-8614-1D0BF563D304}" type="pres">
      <dgm:prSet presAssocID="{44CAFA93-9FEF-4E5F-9642-88CD5E42F757}" presName="rootConnector1" presStyleLbl="node1" presStyleIdx="0" presStyleCnt="0"/>
      <dgm:spPr/>
      <dgm:t>
        <a:bodyPr/>
        <a:lstStyle/>
        <a:p>
          <a:endParaRPr lang="en-US"/>
        </a:p>
      </dgm:t>
    </dgm:pt>
    <dgm:pt modelId="{85AD64D0-ECB6-4F39-8C3B-8480DD644C4A}" type="pres">
      <dgm:prSet presAssocID="{44CAFA93-9FEF-4E5F-9642-88CD5E42F757}" presName="hierChild2" presStyleCnt="0"/>
      <dgm:spPr/>
    </dgm:pt>
    <dgm:pt modelId="{E16A8FD6-EBA2-425B-A78F-8EF5181173A9}" type="pres">
      <dgm:prSet presAssocID="{120FEEF4-EF49-4919-8800-7804F01BA61F}" presName="Name37" presStyleLbl="parChTrans1D2" presStyleIdx="0" presStyleCnt="8"/>
      <dgm:spPr/>
      <dgm:t>
        <a:bodyPr/>
        <a:lstStyle/>
        <a:p>
          <a:endParaRPr lang="en-US"/>
        </a:p>
      </dgm:t>
    </dgm:pt>
    <dgm:pt modelId="{40973984-67C0-429D-81CE-3F53BAAF3C05}" type="pres">
      <dgm:prSet presAssocID="{E449E611-151C-40B5-89E4-1D6462D35D1C}" presName="hierRoot2" presStyleCnt="0">
        <dgm:presLayoutVars>
          <dgm:hierBranch val="init"/>
        </dgm:presLayoutVars>
      </dgm:prSet>
      <dgm:spPr/>
    </dgm:pt>
    <dgm:pt modelId="{C0B54FC1-B082-4480-8751-5D2851D10905}" type="pres">
      <dgm:prSet presAssocID="{E449E611-151C-40B5-89E4-1D6462D35D1C}" presName="rootComposite" presStyleCnt="0"/>
      <dgm:spPr/>
    </dgm:pt>
    <dgm:pt modelId="{52F3F4D1-2C17-40A3-BB38-4103BC39E648}" type="pres">
      <dgm:prSet presAssocID="{E449E611-151C-40B5-89E4-1D6462D35D1C}" presName="rootText" presStyleLbl="node2" presStyleIdx="0" presStyleCnt="6" custScaleY="238000" custLinFactNeighborX="-216" custLinFactNeighborY="-531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9D6BE6C-2ADD-4EA4-8EA2-050CA0102470}" type="pres">
      <dgm:prSet presAssocID="{E449E611-151C-40B5-89E4-1D6462D35D1C}" presName="rootConnector" presStyleLbl="node2" presStyleIdx="0" presStyleCnt="6"/>
      <dgm:spPr/>
      <dgm:t>
        <a:bodyPr/>
        <a:lstStyle/>
        <a:p>
          <a:endParaRPr lang="en-US"/>
        </a:p>
      </dgm:t>
    </dgm:pt>
    <dgm:pt modelId="{7BE2B0FF-0403-42FA-A1B3-FC26F8BFD787}" type="pres">
      <dgm:prSet presAssocID="{E449E611-151C-40B5-89E4-1D6462D35D1C}" presName="hierChild4" presStyleCnt="0"/>
      <dgm:spPr/>
    </dgm:pt>
    <dgm:pt modelId="{FD16C55E-5C0E-4850-B281-B2C969F7292A}" type="pres">
      <dgm:prSet presAssocID="{E449E611-151C-40B5-89E4-1D6462D35D1C}" presName="hierChild5" presStyleCnt="0"/>
      <dgm:spPr/>
    </dgm:pt>
    <dgm:pt modelId="{47A13D41-765B-4D93-844D-CC16E30F05EA}" type="pres">
      <dgm:prSet presAssocID="{5CF6D5A0-9B67-4D63-B5C2-F69AD05CC102}" presName="Name37" presStyleLbl="parChTrans1D2" presStyleIdx="1" presStyleCnt="8"/>
      <dgm:spPr/>
      <dgm:t>
        <a:bodyPr/>
        <a:lstStyle/>
        <a:p>
          <a:endParaRPr lang="en-US"/>
        </a:p>
      </dgm:t>
    </dgm:pt>
    <dgm:pt modelId="{ABBBA7C1-EEB4-4069-A47C-12FAD59B4984}" type="pres">
      <dgm:prSet presAssocID="{E768FD2A-4D35-46BF-A2DA-C84969808B1E}" presName="hierRoot2" presStyleCnt="0">
        <dgm:presLayoutVars>
          <dgm:hierBranch val="init"/>
        </dgm:presLayoutVars>
      </dgm:prSet>
      <dgm:spPr/>
    </dgm:pt>
    <dgm:pt modelId="{309DE532-BFFD-47AB-AA94-70B4112A4A7C}" type="pres">
      <dgm:prSet presAssocID="{E768FD2A-4D35-46BF-A2DA-C84969808B1E}" presName="rootComposite" presStyleCnt="0"/>
      <dgm:spPr/>
    </dgm:pt>
    <dgm:pt modelId="{0A7730DA-2F35-40A0-8CF0-DF52B5751B86}" type="pres">
      <dgm:prSet presAssocID="{E768FD2A-4D35-46BF-A2DA-C84969808B1E}" presName="rootText" presStyleLbl="node2" presStyleIdx="1" presStyleCnt="6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1FE233-253A-4F30-AF91-05302E6DF23A}" type="pres">
      <dgm:prSet presAssocID="{E768FD2A-4D35-46BF-A2DA-C84969808B1E}" presName="rootConnector" presStyleLbl="node2" presStyleIdx="1" presStyleCnt="6"/>
      <dgm:spPr/>
      <dgm:t>
        <a:bodyPr/>
        <a:lstStyle/>
        <a:p>
          <a:endParaRPr lang="en-US"/>
        </a:p>
      </dgm:t>
    </dgm:pt>
    <dgm:pt modelId="{DF0BDF5C-A7C6-40E6-AD51-84730EA5D1E8}" type="pres">
      <dgm:prSet presAssocID="{E768FD2A-4D35-46BF-A2DA-C84969808B1E}" presName="hierChild4" presStyleCnt="0"/>
      <dgm:spPr/>
    </dgm:pt>
    <dgm:pt modelId="{9251FCCE-BC8C-457D-ABC9-05593D42D727}" type="pres">
      <dgm:prSet presAssocID="{E768FD2A-4D35-46BF-A2DA-C84969808B1E}" presName="hierChild5" presStyleCnt="0"/>
      <dgm:spPr/>
    </dgm:pt>
    <dgm:pt modelId="{41CFCF0A-25A5-4503-BB89-4781CE01F0E7}" type="pres">
      <dgm:prSet presAssocID="{1E320E83-014B-4EE3-8DEA-106DC855896F}" presName="Name37" presStyleLbl="parChTrans1D2" presStyleIdx="2" presStyleCnt="8"/>
      <dgm:spPr/>
      <dgm:t>
        <a:bodyPr/>
        <a:lstStyle/>
        <a:p>
          <a:endParaRPr lang="en-US"/>
        </a:p>
      </dgm:t>
    </dgm:pt>
    <dgm:pt modelId="{05CB6007-43C4-409F-8B56-09AE80C99114}" type="pres">
      <dgm:prSet presAssocID="{67B6AB9F-B20E-4146-8633-6004D6145D7B}" presName="hierRoot2" presStyleCnt="0">
        <dgm:presLayoutVars>
          <dgm:hierBranch val="init"/>
        </dgm:presLayoutVars>
      </dgm:prSet>
      <dgm:spPr/>
    </dgm:pt>
    <dgm:pt modelId="{26C86D9B-92AC-4603-AAB5-A74B1DE87B5D}" type="pres">
      <dgm:prSet presAssocID="{67B6AB9F-B20E-4146-8633-6004D6145D7B}" presName="rootComposite" presStyleCnt="0"/>
      <dgm:spPr/>
    </dgm:pt>
    <dgm:pt modelId="{C5F933B0-21BA-4861-971A-95BD08C6E080}" type="pres">
      <dgm:prSet presAssocID="{67B6AB9F-B20E-4146-8633-6004D6145D7B}" presName="rootText" presStyleLbl="node2" presStyleIdx="2" presStyleCnt="6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AEABE99-3852-4A60-BD5A-9EF670C75D8B}" type="pres">
      <dgm:prSet presAssocID="{67B6AB9F-B20E-4146-8633-6004D6145D7B}" presName="rootConnector" presStyleLbl="node2" presStyleIdx="2" presStyleCnt="6"/>
      <dgm:spPr/>
      <dgm:t>
        <a:bodyPr/>
        <a:lstStyle/>
        <a:p>
          <a:endParaRPr lang="en-US"/>
        </a:p>
      </dgm:t>
    </dgm:pt>
    <dgm:pt modelId="{A758E4B0-79C0-4F7E-BB37-36562924255A}" type="pres">
      <dgm:prSet presAssocID="{67B6AB9F-B20E-4146-8633-6004D6145D7B}" presName="hierChild4" presStyleCnt="0"/>
      <dgm:spPr/>
    </dgm:pt>
    <dgm:pt modelId="{11DC3FC7-82D4-428D-AF07-2D7BA31645A1}" type="pres">
      <dgm:prSet presAssocID="{67B6AB9F-B20E-4146-8633-6004D6145D7B}" presName="hierChild5" presStyleCnt="0"/>
      <dgm:spPr/>
    </dgm:pt>
    <dgm:pt modelId="{31C9B838-5252-493F-8210-59FA71DCA6E2}" type="pres">
      <dgm:prSet presAssocID="{FE9366EE-10CE-4699-AC22-81D81C326295}" presName="Name37" presStyleLbl="parChTrans1D2" presStyleIdx="3" presStyleCnt="8"/>
      <dgm:spPr/>
      <dgm:t>
        <a:bodyPr/>
        <a:lstStyle/>
        <a:p>
          <a:endParaRPr lang="en-US"/>
        </a:p>
      </dgm:t>
    </dgm:pt>
    <dgm:pt modelId="{996EFFB0-9BBE-4AD0-B591-9843F24D5B19}" type="pres">
      <dgm:prSet presAssocID="{D1C86818-019E-4929-872E-C12A93842E97}" presName="hierRoot2" presStyleCnt="0">
        <dgm:presLayoutVars>
          <dgm:hierBranch val="init"/>
        </dgm:presLayoutVars>
      </dgm:prSet>
      <dgm:spPr/>
    </dgm:pt>
    <dgm:pt modelId="{317F5EE7-9701-4334-B5C7-06A8D83B01ED}" type="pres">
      <dgm:prSet presAssocID="{D1C86818-019E-4929-872E-C12A93842E97}" presName="rootComposite" presStyleCnt="0"/>
      <dgm:spPr/>
    </dgm:pt>
    <dgm:pt modelId="{947849E2-FCC1-4BAA-8346-67F8F63DDBD7}" type="pres">
      <dgm:prSet presAssocID="{D1C86818-019E-4929-872E-C12A93842E97}" presName="rootText" presStyleLbl="node2" presStyleIdx="3" presStyleCnt="6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79FFC9-89D4-4547-BC61-DACD52D1B71B}" type="pres">
      <dgm:prSet presAssocID="{D1C86818-019E-4929-872E-C12A93842E97}" presName="rootConnector" presStyleLbl="node2" presStyleIdx="3" presStyleCnt="6"/>
      <dgm:spPr/>
      <dgm:t>
        <a:bodyPr/>
        <a:lstStyle/>
        <a:p>
          <a:endParaRPr lang="en-US"/>
        </a:p>
      </dgm:t>
    </dgm:pt>
    <dgm:pt modelId="{39D8BA17-B763-48C9-BA50-813E1EE8D1E0}" type="pres">
      <dgm:prSet presAssocID="{D1C86818-019E-4929-872E-C12A93842E97}" presName="hierChild4" presStyleCnt="0"/>
      <dgm:spPr/>
    </dgm:pt>
    <dgm:pt modelId="{C9FA0E5D-B4C8-4754-96F4-1302B9FE0209}" type="pres">
      <dgm:prSet presAssocID="{D1C86818-019E-4929-872E-C12A93842E97}" presName="hierChild5" presStyleCnt="0"/>
      <dgm:spPr/>
    </dgm:pt>
    <dgm:pt modelId="{DA11D309-1092-4AE0-8E1A-D5BAE19DCA8A}" type="pres">
      <dgm:prSet presAssocID="{A5EABCF3-BBA8-4FAC-A75D-1589A1F787B0}" presName="Name37" presStyleLbl="parChTrans1D2" presStyleIdx="4" presStyleCnt="8"/>
      <dgm:spPr/>
      <dgm:t>
        <a:bodyPr/>
        <a:lstStyle/>
        <a:p>
          <a:endParaRPr lang="en-US"/>
        </a:p>
      </dgm:t>
    </dgm:pt>
    <dgm:pt modelId="{3CC22EC9-01FF-4F17-B99B-8A9A7F434FF1}" type="pres">
      <dgm:prSet presAssocID="{A9D95B63-62F8-4ECF-9FC1-A27DF26CAB45}" presName="hierRoot2" presStyleCnt="0">
        <dgm:presLayoutVars>
          <dgm:hierBranch val="init"/>
        </dgm:presLayoutVars>
      </dgm:prSet>
      <dgm:spPr/>
    </dgm:pt>
    <dgm:pt modelId="{5FB984FA-E956-45E6-99CF-A05312CF9FDD}" type="pres">
      <dgm:prSet presAssocID="{A9D95B63-62F8-4ECF-9FC1-A27DF26CAB45}" presName="rootComposite" presStyleCnt="0"/>
      <dgm:spPr/>
    </dgm:pt>
    <dgm:pt modelId="{68A03C29-C904-4B5F-B245-FE371F42DA2A}" type="pres">
      <dgm:prSet presAssocID="{A9D95B63-62F8-4ECF-9FC1-A27DF26CAB45}" presName="rootText" presStyleLbl="node2" presStyleIdx="4" presStyleCnt="6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D78ED-EB5D-4649-AE32-1129768CFA83}" type="pres">
      <dgm:prSet presAssocID="{A9D95B63-62F8-4ECF-9FC1-A27DF26CAB45}" presName="rootConnector" presStyleLbl="node2" presStyleIdx="4" presStyleCnt="6"/>
      <dgm:spPr/>
      <dgm:t>
        <a:bodyPr/>
        <a:lstStyle/>
        <a:p>
          <a:endParaRPr lang="en-US"/>
        </a:p>
      </dgm:t>
    </dgm:pt>
    <dgm:pt modelId="{1BF35FAA-B363-47B6-9123-BBDD1195EE4D}" type="pres">
      <dgm:prSet presAssocID="{A9D95B63-62F8-4ECF-9FC1-A27DF26CAB45}" presName="hierChild4" presStyleCnt="0"/>
      <dgm:spPr/>
    </dgm:pt>
    <dgm:pt modelId="{4593BB1B-C6BF-4D27-BB2F-D2D5A25D5CF5}" type="pres">
      <dgm:prSet presAssocID="{A9D95B63-62F8-4ECF-9FC1-A27DF26CAB45}" presName="hierChild5" presStyleCnt="0"/>
      <dgm:spPr/>
    </dgm:pt>
    <dgm:pt modelId="{9E1206AB-004E-40EA-8ED8-52264F7B664B}" type="pres">
      <dgm:prSet presAssocID="{813C61E0-D61B-4AAE-B6F4-F72B63D42E9A}" presName="Name37" presStyleLbl="parChTrans1D2" presStyleIdx="5" presStyleCnt="8"/>
      <dgm:spPr/>
      <dgm:t>
        <a:bodyPr/>
        <a:lstStyle/>
        <a:p>
          <a:endParaRPr lang="en-US"/>
        </a:p>
      </dgm:t>
    </dgm:pt>
    <dgm:pt modelId="{260F42A5-3865-44ED-AA4F-68A0860DA274}" type="pres">
      <dgm:prSet presAssocID="{BF1778F2-7250-4F90-8283-9C14A12453BA}" presName="hierRoot2" presStyleCnt="0">
        <dgm:presLayoutVars>
          <dgm:hierBranch val="init"/>
        </dgm:presLayoutVars>
      </dgm:prSet>
      <dgm:spPr/>
    </dgm:pt>
    <dgm:pt modelId="{19D0BAAA-0266-4C15-AE84-C4E1CAAB50A0}" type="pres">
      <dgm:prSet presAssocID="{BF1778F2-7250-4F90-8283-9C14A12453BA}" presName="rootComposite" presStyleCnt="0"/>
      <dgm:spPr/>
    </dgm:pt>
    <dgm:pt modelId="{883BFE8A-0CA4-4A2D-BAEC-908118206845}" type="pres">
      <dgm:prSet presAssocID="{BF1778F2-7250-4F90-8283-9C14A12453BA}" presName="rootText" presStyleLbl="node2" presStyleIdx="5" presStyleCnt="6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A0B3AD2-70A8-4DAA-804A-78AC1CD56469}" type="pres">
      <dgm:prSet presAssocID="{BF1778F2-7250-4F90-8283-9C14A12453BA}" presName="rootConnector" presStyleLbl="node2" presStyleIdx="5" presStyleCnt="6"/>
      <dgm:spPr/>
      <dgm:t>
        <a:bodyPr/>
        <a:lstStyle/>
        <a:p>
          <a:endParaRPr lang="en-US"/>
        </a:p>
      </dgm:t>
    </dgm:pt>
    <dgm:pt modelId="{608EA5D5-9F34-4FF2-AB06-332C09876955}" type="pres">
      <dgm:prSet presAssocID="{BF1778F2-7250-4F90-8283-9C14A12453BA}" presName="hierChild4" presStyleCnt="0"/>
      <dgm:spPr/>
    </dgm:pt>
    <dgm:pt modelId="{70F21E52-F07F-4279-B246-05FD4DFC3CA0}" type="pres">
      <dgm:prSet presAssocID="{BF1778F2-7250-4F90-8283-9C14A12453BA}" presName="hierChild5" presStyleCnt="0"/>
      <dgm:spPr/>
    </dgm:pt>
    <dgm:pt modelId="{AD3D7CFE-165A-4845-9F2D-9C7F5245D735}" type="pres">
      <dgm:prSet presAssocID="{44CAFA93-9FEF-4E5F-9642-88CD5E42F757}" presName="hierChild3" presStyleCnt="0"/>
      <dgm:spPr/>
    </dgm:pt>
    <dgm:pt modelId="{12FED679-2FF6-4128-AA31-831583977F94}" type="pres">
      <dgm:prSet presAssocID="{1BE4E673-6ABA-4B7D-9A09-868E81051E99}" presName="Name111" presStyleLbl="parChTrans1D2" presStyleIdx="6" presStyleCnt="8"/>
      <dgm:spPr/>
      <dgm:t>
        <a:bodyPr/>
        <a:lstStyle/>
        <a:p>
          <a:endParaRPr lang="en-US"/>
        </a:p>
      </dgm:t>
    </dgm:pt>
    <dgm:pt modelId="{A7430640-C807-4B0D-AAF9-4B5743D3019A}" type="pres">
      <dgm:prSet presAssocID="{B2F626CE-B560-4B17-912F-FDCBC3348BB5}" presName="hierRoot3" presStyleCnt="0">
        <dgm:presLayoutVars>
          <dgm:hierBranch val="init"/>
        </dgm:presLayoutVars>
      </dgm:prSet>
      <dgm:spPr/>
    </dgm:pt>
    <dgm:pt modelId="{9B7BB375-64A1-477C-AE7F-BB5E251A18FC}" type="pres">
      <dgm:prSet presAssocID="{B2F626CE-B560-4B17-912F-FDCBC3348BB5}" presName="rootComposite3" presStyleCnt="0"/>
      <dgm:spPr/>
    </dgm:pt>
    <dgm:pt modelId="{D17059A9-6644-4650-90DB-2C1E0EBBF16D}" type="pres">
      <dgm:prSet presAssocID="{B2F626CE-B560-4B17-912F-FDCBC3348BB5}" presName="rootText3" presStyleLbl="asst1" presStyleIdx="0" presStyleCnt="2" custScaleX="158220" custScaleY="144890" custLinFactNeighborX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BC06553-5BE9-4F9B-8117-C1DD671863FF}" type="pres">
      <dgm:prSet presAssocID="{B2F626CE-B560-4B17-912F-FDCBC3348BB5}" presName="rootConnector3" presStyleLbl="asst1" presStyleIdx="0" presStyleCnt="2"/>
      <dgm:spPr/>
      <dgm:t>
        <a:bodyPr/>
        <a:lstStyle/>
        <a:p>
          <a:endParaRPr lang="en-US"/>
        </a:p>
      </dgm:t>
    </dgm:pt>
    <dgm:pt modelId="{65F26470-2EFC-4CD9-9AB9-2409C98946D0}" type="pres">
      <dgm:prSet presAssocID="{B2F626CE-B560-4B17-912F-FDCBC3348BB5}" presName="hierChild6" presStyleCnt="0"/>
      <dgm:spPr/>
    </dgm:pt>
    <dgm:pt modelId="{F85BEB38-6D04-4834-9B84-AEA2B162812E}" type="pres">
      <dgm:prSet presAssocID="{B2F626CE-B560-4B17-912F-FDCBC3348BB5}" presName="hierChild7" presStyleCnt="0"/>
      <dgm:spPr/>
    </dgm:pt>
    <dgm:pt modelId="{A649641A-AB8D-49EF-BB48-DC89359E97B5}" type="pres">
      <dgm:prSet presAssocID="{363B58C4-5878-4374-998C-F34BB8053D03}" presName="Name111" presStyleLbl="parChTrans1D2" presStyleIdx="7" presStyleCnt="8"/>
      <dgm:spPr/>
      <dgm:t>
        <a:bodyPr/>
        <a:lstStyle/>
        <a:p>
          <a:endParaRPr lang="en-US"/>
        </a:p>
      </dgm:t>
    </dgm:pt>
    <dgm:pt modelId="{7F017C2A-C793-46FA-8B38-E4B99F32F1AF}" type="pres">
      <dgm:prSet presAssocID="{429FE55E-84D0-4329-A00D-FA1CAC8C26EA}" presName="hierRoot3" presStyleCnt="0">
        <dgm:presLayoutVars>
          <dgm:hierBranch val="init"/>
        </dgm:presLayoutVars>
      </dgm:prSet>
      <dgm:spPr/>
    </dgm:pt>
    <dgm:pt modelId="{27FFA928-BCEF-44CE-9388-E8DB9E1335BB}" type="pres">
      <dgm:prSet presAssocID="{429FE55E-84D0-4329-A00D-FA1CAC8C26EA}" presName="rootComposite3" presStyleCnt="0"/>
      <dgm:spPr/>
    </dgm:pt>
    <dgm:pt modelId="{B817EA42-5BAC-4838-B8C6-C3D435AC1253}" type="pres">
      <dgm:prSet presAssocID="{429FE55E-84D0-4329-A00D-FA1CAC8C26EA}" presName="rootText3" presStyleLbl="asst1" presStyleIdx="1" presStyleCnt="2" custScaleX="156903" custScaleY="1448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9E373A8-3312-45AF-A519-AE2F51493524}" type="pres">
      <dgm:prSet presAssocID="{429FE55E-84D0-4329-A00D-FA1CAC8C26EA}" presName="rootConnector3" presStyleLbl="asst1" presStyleIdx="1" presStyleCnt="2"/>
      <dgm:spPr/>
      <dgm:t>
        <a:bodyPr/>
        <a:lstStyle/>
        <a:p>
          <a:endParaRPr lang="en-US"/>
        </a:p>
      </dgm:t>
    </dgm:pt>
    <dgm:pt modelId="{F4ED3189-1229-44C4-9E9E-4D7E564EAF04}" type="pres">
      <dgm:prSet presAssocID="{429FE55E-84D0-4329-A00D-FA1CAC8C26EA}" presName="hierChild6" presStyleCnt="0"/>
      <dgm:spPr/>
    </dgm:pt>
    <dgm:pt modelId="{7CB8D12D-5A55-4154-AC6F-33BCC44EEC13}" type="pres">
      <dgm:prSet presAssocID="{429FE55E-84D0-4329-A00D-FA1CAC8C26EA}" presName="hierChild7" presStyleCnt="0"/>
      <dgm:spPr/>
    </dgm:pt>
  </dgm:ptLst>
  <dgm:cxnLst>
    <dgm:cxn modelId="{CFB62562-E3CF-428B-9432-A3A7DEA21374}" type="presOf" srcId="{FE9366EE-10CE-4699-AC22-81D81C326295}" destId="{31C9B838-5252-493F-8210-59FA71DCA6E2}" srcOrd="0" destOrd="0" presId="urn:microsoft.com/office/officeart/2005/8/layout/orgChart1"/>
    <dgm:cxn modelId="{A8C0BA44-E985-4D4E-AB59-F8C249947050}" type="presOf" srcId="{EF60CA96-D885-45EE-80C3-2C77DB62E790}" destId="{5F26EB0B-98BB-4103-9CDD-BB9EE9D889B4}" srcOrd="0" destOrd="0" presId="urn:microsoft.com/office/officeart/2005/8/layout/orgChart1"/>
    <dgm:cxn modelId="{1842B284-9593-486B-8422-35842EE181C3}" type="presOf" srcId="{E768FD2A-4D35-46BF-A2DA-C84969808B1E}" destId="{BB1FE233-253A-4F30-AF91-05302E6DF23A}" srcOrd="1" destOrd="0" presId="urn:microsoft.com/office/officeart/2005/8/layout/orgChart1"/>
    <dgm:cxn modelId="{31736E5F-A58E-4A63-B799-4063D978EA71}" type="presOf" srcId="{A9D95B63-62F8-4ECF-9FC1-A27DF26CAB45}" destId="{6EFD78ED-EB5D-4649-AE32-1129768CFA83}" srcOrd="1" destOrd="0" presId="urn:microsoft.com/office/officeart/2005/8/layout/orgChart1"/>
    <dgm:cxn modelId="{7DE84BA7-D375-4835-8409-3671AA151396}" srcId="{44CAFA93-9FEF-4E5F-9642-88CD5E42F757}" destId="{BF1778F2-7250-4F90-8283-9C14A12453BA}" srcOrd="5" destOrd="0" parTransId="{813C61E0-D61B-4AAE-B6F4-F72B63D42E9A}" sibTransId="{1CFC59FC-002F-4354-B2EE-59885CD9FDAE}"/>
    <dgm:cxn modelId="{B33A8366-B2D1-40A6-848E-9AAFE20DB752}" type="presOf" srcId="{44CAFA93-9FEF-4E5F-9642-88CD5E42F757}" destId="{F2621643-E79A-40DA-8614-1D0BF563D304}" srcOrd="1" destOrd="0" presId="urn:microsoft.com/office/officeart/2005/8/layout/orgChart1"/>
    <dgm:cxn modelId="{FFF7976B-EC92-4108-901E-F7BC3A14676D}" type="presOf" srcId="{E768FD2A-4D35-46BF-A2DA-C84969808B1E}" destId="{0A7730DA-2F35-40A0-8CF0-DF52B5751B86}" srcOrd="0" destOrd="0" presId="urn:microsoft.com/office/officeart/2005/8/layout/orgChart1"/>
    <dgm:cxn modelId="{645FE56B-F2AD-4BB7-910B-BBD17EF56F73}" srcId="{44CAFA93-9FEF-4E5F-9642-88CD5E42F757}" destId="{E768FD2A-4D35-46BF-A2DA-C84969808B1E}" srcOrd="1" destOrd="0" parTransId="{5CF6D5A0-9B67-4D63-B5C2-F69AD05CC102}" sibTransId="{2D6915E3-EA68-4451-8281-C845EA45F552}"/>
    <dgm:cxn modelId="{16862750-F2A9-4F92-A97F-14DF091038FE}" srcId="{44CAFA93-9FEF-4E5F-9642-88CD5E42F757}" destId="{B2F626CE-B560-4B17-912F-FDCBC3348BB5}" srcOrd="6" destOrd="0" parTransId="{1BE4E673-6ABA-4B7D-9A09-868E81051E99}" sibTransId="{5A5B91C6-9473-4AC2-BE5C-4E166CDB1A95}"/>
    <dgm:cxn modelId="{F249C991-B1ED-4334-A915-F1F045D81B35}" type="presOf" srcId="{429FE55E-84D0-4329-A00D-FA1CAC8C26EA}" destId="{B817EA42-5BAC-4838-B8C6-C3D435AC1253}" srcOrd="0" destOrd="0" presId="urn:microsoft.com/office/officeart/2005/8/layout/orgChart1"/>
    <dgm:cxn modelId="{4C34A5D2-E8EE-4EEA-9232-CD8B0E90D9AC}" type="presOf" srcId="{44CAFA93-9FEF-4E5F-9642-88CD5E42F757}" destId="{E54AF0DD-8C8D-4068-8B21-DB050E42C239}" srcOrd="0" destOrd="0" presId="urn:microsoft.com/office/officeart/2005/8/layout/orgChart1"/>
    <dgm:cxn modelId="{26E3CE30-A55C-4F75-AC75-29598E68B5EC}" srcId="{44CAFA93-9FEF-4E5F-9642-88CD5E42F757}" destId="{429FE55E-84D0-4329-A00D-FA1CAC8C26EA}" srcOrd="7" destOrd="0" parTransId="{363B58C4-5878-4374-998C-F34BB8053D03}" sibTransId="{91315076-8E4A-4D4A-9852-81F54D581327}"/>
    <dgm:cxn modelId="{EB104C04-FB3D-4642-8DBD-3C62A9F5793E}" type="presOf" srcId="{BF1778F2-7250-4F90-8283-9C14A12453BA}" destId="{883BFE8A-0CA4-4A2D-BAEC-908118206845}" srcOrd="0" destOrd="0" presId="urn:microsoft.com/office/officeart/2005/8/layout/orgChart1"/>
    <dgm:cxn modelId="{003D7B92-B86D-4BAE-A10E-BCFF0E04D219}" srcId="{44CAFA93-9FEF-4E5F-9642-88CD5E42F757}" destId="{A9D95B63-62F8-4ECF-9FC1-A27DF26CAB45}" srcOrd="4" destOrd="0" parTransId="{A5EABCF3-BBA8-4FAC-A75D-1589A1F787B0}" sibTransId="{850DDB73-8537-4D13-9081-A91FB33C270C}"/>
    <dgm:cxn modelId="{244C4ED3-C923-44FC-9D9D-70594B19648F}" type="presOf" srcId="{67B6AB9F-B20E-4146-8633-6004D6145D7B}" destId="{C5F933B0-21BA-4861-971A-95BD08C6E080}" srcOrd="0" destOrd="0" presId="urn:microsoft.com/office/officeart/2005/8/layout/orgChart1"/>
    <dgm:cxn modelId="{496306C6-151E-4D73-AF3C-3ED98B331FF1}" type="presOf" srcId="{B2F626CE-B560-4B17-912F-FDCBC3348BB5}" destId="{D17059A9-6644-4650-90DB-2C1E0EBBF16D}" srcOrd="0" destOrd="0" presId="urn:microsoft.com/office/officeart/2005/8/layout/orgChart1"/>
    <dgm:cxn modelId="{1D71BB0B-44EE-475C-B591-803583BD9134}" srcId="{EF60CA96-D885-45EE-80C3-2C77DB62E790}" destId="{44CAFA93-9FEF-4E5F-9642-88CD5E42F757}" srcOrd="0" destOrd="0" parTransId="{FF93D7E9-E276-4010-86B8-CA35EB566BB4}" sibTransId="{4BFAFDC5-09AB-4B7B-8CD5-0FC56849D49C}"/>
    <dgm:cxn modelId="{BA53DE97-3A52-45F8-999D-A18966697F88}" type="presOf" srcId="{E449E611-151C-40B5-89E4-1D6462D35D1C}" destId="{52F3F4D1-2C17-40A3-BB38-4103BC39E648}" srcOrd="0" destOrd="0" presId="urn:microsoft.com/office/officeart/2005/8/layout/orgChart1"/>
    <dgm:cxn modelId="{B7F80B8B-077E-4AD1-8288-349C0739E4A7}" type="presOf" srcId="{B2F626CE-B560-4B17-912F-FDCBC3348BB5}" destId="{7BC06553-5BE9-4F9B-8117-C1DD671863FF}" srcOrd="1" destOrd="0" presId="urn:microsoft.com/office/officeart/2005/8/layout/orgChart1"/>
    <dgm:cxn modelId="{11A75E94-E2E6-4006-83B7-182EBB0F6D7E}" type="presOf" srcId="{67B6AB9F-B20E-4146-8633-6004D6145D7B}" destId="{7AEABE99-3852-4A60-BD5A-9EF670C75D8B}" srcOrd="1" destOrd="0" presId="urn:microsoft.com/office/officeart/2005/8/layout/orgChart1"/>
    <dgm:cxn modelId="{D47B4CB1-4A06-40F7-9640-94CD7DEA55F8}" srcId="{44CAFA93-9FEF-4E5F-9642-88CD5E42F757}" destId="{67B6AB9F-B20E-4146-8633-6004D6145D7B}" srcOrd="2" destOrd="0" parTransId="{1E320E83-014B-4EE3-8DEA-106DC855896F}" sibTransId="{F9C52E8B-AE4F-4B43-BC6A-F20417BBB2CF}"/>
    <dgm:cxn modelId="{8C45A03B-F857-46FA-9FB3-3A94566274EE}" type="presOf" srcId="{D1C86818-019E-4929-872E-C12A93842E97}" destId="{947849E2-FCC1-4BAA-8346-67F8F63DDBD7}" srcOrd="0" destOrd="0" presId="urn:microsoft.com/office/officeart/2005/8/layout/orgChart1"/>
    <dgm:cxn modelId="{07C4ED25-41BD-4B25-B728-5DF2B1F9501C}" type="presOf" srcId="{363B58C4-5878-4374-998C-F34BB8053D03}" destId="{A649641A-AB8D-49EF-BB48-DC89359E97B5}" srcOrd="0" destOrd="0" presId="urn:microsoft.com/office/officeart/2005/8/layout/orgChart1"/>
    <dgm:cxn modelId="{0CB1BC51-C460-40ED-977B-76C9D365E541}" type="presOf" srcId="{A5EABCF3-BBA8-4FAC-A75D-1589A1F787B0}" destId="{DA11D309-1092-4AE0-8E1A-D5BAE19DCA8A}" srcOrd="0" destOrd="0" presId="urn:microsoft.com/office/officeart/2005/8/layout/orgChart1"/>
    <dgm:cxn modelId="{67ADEDE0-37A4-44BE-800E-DAB0B709CD1D}" type="presOf" srcId="{A9D95B63-62F8-4ECF-9FC1-A27DF26CAB45}" destId="{68A03C29-C904-4B5F-B245-FE371F42DA2A}" srcOrd="0" destOrd="0" presId="urn:microsoft.com/office/officeart/2005/8/layout/orgChart1"/>
    <dgm:cxn modelId="{8CE36F7B-F7DD-4FA5-BB86-7BFA1777EB10}" type="presOf" srcId="{1BE4E673-6ABA-4B7D-9A09-868E81051E99}" destId="{12FED679-2FF6-4128-AA31-831583977F94}" srcOrd="0" destOrd="0" presId="urn:microsoft.com/office/officeart/2005/8/layout/orgChart1"/>
    <dgm:cxn modelId="{665FCDDF-95B8-49D8-91AC-0E54EA10B978}" srcId="{44CAFA93-9FEF-4E5F-9642-88CD5E42F757}" destId="{D1C86818-019E-4929-872E-C12A93842E97}" srcOrd="3" destOrd="0" parTransId="{FE9366EE-10CE-4699-AC22-81D81C326295}" sibTransId="{C1D7264C-AE20-4BAE-ABCD-8F2692AE7DDF}"/>
    <dgm:cxn modelId="{2FBEBB42-A9D5-4837-8ADF-CB1CD68F2050}" type="presOf" srcId="{429FE55E-84D0-4329-A00D-FA1CAC8C26EA}" destId="{A9E373A8-3312-45AF-A519-AE2F51493524}" srcOrd="1" destOrd="0" presId="urn:microsoft.com/office/officeart/2005/8/layout/orgChart1"/>
    <dgm:cxn modelId="{0BF92E87-1E2F-44FF-AEE6-7E82F1BAEC51}" type="presOf" srcId="{120FEEF4-EF49-4919-8800-7804F01BA61F}" destId="{E16A8FD6-EBA2-425B-A78F-8EF5181173A9}" srcOrd="0" destOrd="0" presId="urn:microsoft.com/office/officeart/2005/8/layout/orgChart1"/>
    <dgm:cxn modelId="{A2B68D9B-1BEE-4A77-AE86-57257666B646}" type="presOf" srcId="{1E320E83-014B-4EE3-8DEA-106DC855896F}" destId="{41CFCF0A-25A5-4503-BB89-4781CE01F0E7}" srcOrd="0" destOrd="0" presId="urn:microsoft.com/office/officeart/2005/8/layout/orgChart1"/>
    <dgm:cxn modelId="{BD2F723D-4ED5-44C2-8858-A277C32BFE2B}" srcId="{44CAFA93-9FEF-4E5F-9642-88CD5E42F757}" destId="{E449E611-151C-40B5-89E4-1D6462D35D1C}" srcOrd="0" destOrd="0" parTransId="{120FEEF4-EF49-4919-8800-7804F01BA61F}" sibTransId="{9829A6F7-A208-468E-810D-E34FE052FD9F}"/>
    <dgm:cxn modelId="{AE3B4614-8060-4EFF-88D7-1829E3ABE18A}" type="presOf" srcId="{E449E611-151C-40B5-89E4-1D6462D35D1C}" destId="{39D6BE6C-2ADD-4EA4-8EA2-050CA0102470}" srcOrd="1" destOrd="0" presId="urn:microsoft.com/office/officeart/2005/8/layout/orgChart1"/>
    <dgm:cxn modelId="{BEDCD370-8134-4229-9D9F-BB65F7E5DADC}" type="presOf" srcId="{813C61E0-D61B-4AAE-B6F4-F72B63D42E9A}" destId="{9E1206AB-004E-40EA-8ED8-52264F7B664B}" srcOrd="0" destOrd="0" presId="urn:microsoft.com/office/officeart/2005/8/layout/orgChart1"/>
    <dgm:cxn modelId="{7740B2D9-C952-4B46-9A78-898D43C244B2}" type="presOf" srcId="{BF1778F2-7250-4F90-8283-9C14A12453BA}" destId="{2A0B3AD2-70A8-4DAA-804A-78AC1CD56469}" srcOrd="1" destOrd="0" presId="urn:microsoft.com/office/officeart/2005/8/layout/orgChart1"/>
    <dgm:cxn modelId="{107AEC30-1F68-4AD2-856B-8C80E0814434}" type="presOf" srcId="{5CF6D5A0-9B67-4D63-B5C2-F69AD05CC102}" destId="{47A13D41-765B-4D93-844D-CC16E30F05EA}" srcOrd="0" destOrd="0" presId="urn:microsoft.com/office/officeart/2005/8/layout/orgChart1"/>
    <dgm:cxn modelId="{F168324B-E0A0-47FC-96D9-4AD53E3B96F2}" type="presOf" srcId="{D1C86818-019E-4929-872E-C12A93842E97}" destId="{2379FFC9-89D4-4547-BC61-DACD52D1B71B}" srcOrd="1" destOrd="0" presId="urn:microsoft.com/office/officeart/2005/8/layout/orgChart1"/>
    <dgm:cxn modelId="{BE7C1C8B-A224-4978-8FF7-69C87DBC9AAA}" type="presParOf" srcId="{5F26EB0B-98BB-4103-9CDD-BB9EE9D889B4}" destId="{533DC18B-149C-479F-8BC9-BD8D1195FA34}" srcOrd="0" destOrd="0" presId="urn:microsoft.com/office/officeart/2005/8/layout/orgChart1"/>
    <dgm:cxn modelId="{A787216C-000A-4227-99B6-DA97AACD6DFE}" type="presParOf" srcId="{533DC18B-149C-479F-8BC9-BD8D1195FA34}" destId="{061A4E60-863E-4629-999C-8DC00B7E0AEA}" srcOrd="0" destOrd="0" presId="urn:microsoft.com/office/officeart/2005/8/layout/orgChart1"/>
    <dgm:cxn modelId="{ED4FADDB-7E99-432E-A4B7-E2000D298867}" type="presParOf" srcId="{061A4E60-863E-4629-999C-8DC00B7E0AEA}" destId="{E54AF0DD-8C8D-4068-8B21-DB050E42C239}" srcOrd="0" destOrd="0" presId="urn:microsoft.com/office/officeart/2005/8/layout/orgChart1"/>
    <dgm:cxn modelId="{0D81B5A4-7756-430A-BD0C-ABA8B503CECD}" type="presParOf" srcId="{061A4E60-863E-4629-999C-8DC00B7E0AEA}" destId="{F2621643-E79A-40DA-8614-1D0BF563D304}" srcOrd="1" destOrd="0" presId="urn:microsoft.com/office/officeart/2005/8/layout/orgChart1"/>
    <dgm:cxn modelId="{877504F5-36B2-408A-8BDF-CEBB966FD9AF}" type="presParOf" srcId="{533DC18B-149C-479F-8BC9-BD8D1195FA34}" destId="{85AD64D0-ECB6-4F39-8C3B-8480DD644C4A}" srcOrd="1" destOrd="0" presId="urn:microsoft.com/office/officeart/2005/8/layout/orgChart1"/>
    <dgm:cxn modelId="{23171EF3-44B5-4D11-B4F9-92AA9E17A90A}" type="presParOf" srcId="{85AD64D0-ECB6-4F39-8C3B-8480DD644C4A}" destId="{E16A8FD6-EBA2-425B-A78F-8EF5181173A9}" srcOrd="0" destOrd="0" presId="urn:microsoft.com/office/officeart/2005/8/layout/orgChart1"/>
    <dgm:cxn modelId="{CBAA2F55-532D-4915-B240-6550318DB4AE}" type="presParOf" srcId="{85AD64D0-ECB6-4F39-8C3B-8480DD644C4A}" destId="{40973984-67C0-429D-81CE-3F53BAAF3C05}" srcOrd="1" destOrd="0" presId="urn:microsoft.com/office/officeart/2005/8/layout/orgChart1"/>
    <dgm:cxn modelId="{0CFD03C1-C2E1-4334-823D-E92467A9ECAD}" type="presParOf" srcId="{40973984-67C0-429D-81CE-3F53BAAF3C05}" destId="{C0B54FC1-B082-4480-8751-5D2851D10905}" srcOrd="0" destOrd="0" presId="urn:microsoft.com/office/officeart/2005/8/layout/orgChart1"/>
    <dgm:cxn modelId="{544E4786-3CEA-4589-A99A-D12F0EAFED06}" type="presParOf" srcId="{C0B54FC1-B082-4480-8751-5D2851D10905}" destId="{52F3F4D1-2C17-40A3-BB38-4103BC39E648}" srcOrd="0" destOrd="0" presId="urn:microsoft.com/office/officeart/2005/8/layout/orgChart1"/>
    <dgm:cxn modelId="{51B4A9B9-A72A-4EBE-ABC7-C1FA9A5FBC09}" type="presParOf" srcId="{C0B54FC1-B082-4480-8751-5D2851D10905}" destId="{39D6BE6C-2ADD-4EA4-8EA2-050CA0102470}" srcOrd="1" destOrd="0" presId="urn:microsoft.com/office/officeart/2005/8/layout/orgChart1"/>
    <dgm:cxn modelId="{70245A7D-B904-4C0C-A31A-1317DFCE868C}" type="presParOf" srcId="{40973984-67C0-429D-81CE-3F53BAAF3C05}" destId="{7BE2B0FF-0403-42FA-A1B3-FC26F8BFD787}" srcOrd="1" destOrd="0" presId="urn:microsoft.com/office/officeart/2005/8/layout/orgChart1"/>
    <dgm:cxn modelId="{C6AB8AA8-2E74-4166-A14C-94147D87DF5E}" type="presParOf" srcId="{40973984-67C0-429D-81CE-3F53BAAF3C05}" destId="{FD16C55E-5C0E-4850-B281-B2C969F7292A}" srcOrd="2" destOrd="0" presId="urn:microsoft.com/office/officeart/2005/8/layout/orgChart1"/>
    <dgm:cxn modelId="{BF93AECA-5E67-42B6-AFAE-A0ADCA910A1E}" type="presParOf" srcId="{85AD64D0-ECB6-4F39-8C3B-8480DD644C4A}" destId="{47A13D41-765B-4D93-844D-CC16E30F05EA}" srcOrd="2" destOrd="0" presId="urn:microsoft.com/office/officeart/2005/8/layout/orgChart1"/>
    <dgm:cxn modelId="{F4EC13DD-ADBA-4F35-A958-3758803D99DF}" type="presParOf" srcId="{85AD64D0-ECB6-4F39-8C3B-8480DD644C4A}" destId="{ABBBA7C1-EEB4-4069-A47C-12FAD59B4984}" srcOrd="3" destOrd="0" presId="urn:microsoft.com/office/officeart/2005/8/layout/orgChart1"/>
    <dgm:cxn modelId="{4E17FA5D-C5A3-43D7-9E21-DFE511AD836D}" type="presParOf" srcId="{ABBBA7C1-EEB4-4069-A47C-12FAD59B4984}" destId="{309DE532-BFFD-47AB-AA94-70B4112A4A7C}" srcOrd="0" destOrd="0" presId="urn:microsoft.com/office/officeart/2005/8/layout/orgChart1"/>
    <dgm:cxn modelId="{424175E4-276A-4593-A788-68444637C857}" type="presParOf" srcId="{309DE532-BFFD-47AB-AA94-70B4112A4A7C}" destId="{0A7730DA-2F35-40A0-8CF0-DF52B5751B86}" srcOrd="0" destOrd="0" presId="urn:microsoft.com/office/officeart/2005/8/layout/orgChart1"/>
    <dgm:cxn modelId="{8EB5CE43-295D-4172-AACD-9188C87C26F2}" type="presParOf" srcId="{309DE532-BFFD-47AB-AA94-70B4112A4A7C}" destId="{BB1FE233-253A-4F30-AF91-05302E6DF23A}" srcOrd="1" destOrd="0" presId="urn:microsoft.com/office/officeart/2005/8/layout/orgChart1"/>
    <dgm:cxn modelId="{0B69962A-2724-4421-8CDA-414EACAD6532}" type="presParOf" srcId="{ABBBA7C1-EEB4-4069-A47C-12FAD59B4984}" destId="{DF0BDF5C-A7C6-40E6-AD51-84730EA5D1E8}" srcOrd="1" destOrd="0" presId="urn:microsoft.com/office/officeart/2005/8/layout/orgChart1"/>
    <dgm:cxn modelId="{A3C85A6B-1651-41E8-B43C-DF1867A00317}" type="presParOf" srcId="{ABBBA7C1-EEB4-4069-A47C-12FAD59B4984}" destId="{9251FCCE-BC8C-457D-ABC9-05593D42D727}" srcOrd="2" destOrd="0" presId="urn:microsoft.com/office/officeart/2005/8/layout/orgChart1"/>
    <dgm:cxn modelId="{D33BD63E-5E50-4495-BB1F-45539356BEEC}" type="presParOf" srcId="{85AD64D0-ECB6-4F39-8C3B-8480DD644C4A}" destId="{41CFCF0A-25A5-4503-BB89-4781CE01F0E7}" srcOrd="4" destOrd="0" presId="urn:microsoft.com/office/officeart/2005/8/layout/orgChart1"/>
    <dgm:cxn modelId="{47D6EE7D-FFDF-4A20-A566-2A27F5C4A268}" type="presParOf" srcId="{85AD64D0-ECB6-4F39-8C3B-8480DD644C4A}" destId="{05CB6007-43C4-409F-8B56-09AE80C99114}" srcOrd="5" destOrd="0" presId="urn:microsoft.com/office/officeart/2005/8/layout/orgChart1"/>
    <dgm:cxn modelId="{EFF0BEA1-AE8D-4F4E-A06F-5158F0682F89}" type="presParOf" srcId="{05CB6007-43C4-409F-8B56-09AE80C99114}" destId="{26C86D9B-92AC-4603-AAB5-A74B1DE87B5D}" srcOrd="0" destOrd="0" presId="urn:microsoft.com/office/officeart/2005/8/layout/orgChart1"/>
    <dgm:cxn modelId="{B5BE8017-372B-4288-82EC-B0F79F3FE5B8}" type="presParOf" srcId="{26C86D9B-92AC-4603-AAB5-A74B1DE87B5D}" destId="{C5F933B0-21BA-4861-971A-95BD08C6E080}" srcOrd="0" destOrd="0" presId="urn:microsoft.com/office/officeart/2005/8/layout/orgChart1"/>
    <dgm:cxn modelId="{4FFA061F-3966-4497-B251-14317A3B4522}" type="presParOf" srcId="{26C86D9B-92AC-4603-AAB5-A74B1DE87B5D}" destId="{7AEABE99-3852-4A60-BD5A-9EF670C75D8B}" srcOrd="1" destOrd="0" presId="urn:microsoft.com/office/officeart/2005/8/layout/orgChart1"/>
    <dgm:cxn modelId="{AFA1FC09-2540-4503-8BC9-EB17D94D0FCC}" type="presParOf" srcId="{05CB6007-43C4-409F-8B56-09AE80C99114}" destId="{A758E4B0-79C0-4F7E-BB37-36562924255A}" srcOrd="1" destOrd="0" presId="urn:microsoft.com/office/officeart/2005/8/layout/orgChart1"/>
    <dgm:cxn modelId="{2204C584-6730-4205-ABB7-9BD0A9DAD148}" type="presParOf" srcId="{05CB6007-43C4-409F-8B56-09AE80C99114}" destId="{11DC3FC7-82D4-428D-AF07-2D7BA31645A1}" srcOrd="2" destOrd="0" presId="urn:microsoft.com/office/officeart/2005/8/layout/orgChart1"/>
    <dgm:cxn modelId="{09B1B281-1D7F-4EC1-B96A-A90A037F99A0}" type="presParOf" srcId="{85AD64D0-ECB6-4F39-8C3B-8480DD644C4A}" destId="{31C9B838-5252-493F-8210-59FA71DCA6E2}" srcOrd="6" destOrd="0" presId="urn:microsoft.com/office/officeart/2005/8/layout/orgChart1"/>
    <dgm:cxn modelId="{EC7B4EFD-2FAB-439E-8BE3-EE67816C4CAD}" type="presParOf" srcId="{85AD64D0-ECB6-4F39-8C3B-8480DD644C4A}" destId="{996EFFB0-9BBE-4AD0-B591-9843F24D5B19}" srcOrd="7" destOrd="0" presId="urn:microsoft.com/office/officeart/2005/8/layout/orgChart1"/>
    <dgm:cxn modelId="{4C187D81-4030-40F4-B68C-05D1B134C954}" type="presParOf" srcId="{996EFFB0-9BBE-4AD0-B591-9843F24D5B19}" destId="{317F5EE7-9701-4334-B5C7-06A8D83B01ED}" srcOrd="0" destOrd="0" presId="urn:microsoft.com/office/officeart/2005/8/layout/orgChart1"/>
    <dgm:cxn modelId="{438D3A0C-CD93-45C0-8F1D-2E8DAB902A2A}" type="presParOf" srcId="{317F5EE7-9701-4334-B5C7-06A8D83B01ED}" destId="{947849E2-FCC1-4BAA-8346-67F8F63DDBD7}" srcOrd="0" destOrd="0" presId="urn:microsoft.com/office/officeart/2005/8/layout/orgChart1"/>
    <dgm:cxn modelId="{F0C88506-B0CF-481D-A5AD-D5A22D7F5010}" type="presParOf" srcId="{317F5EE7-9701-4334-B5C7-06A8D83B01ED}" destId="{2379FFC9-89D4-4547-BC61-DACD52D1B71B}" srcOrd="1" destOrd="0" presId="urn:microsoft.com/office/officeart/2005/8/layout/orgChart1"/>
    <dgm:cxn modelId="{6665AD47-BA35-457D-A7F5-8D489EFED66E}" type="presParOf" srcId="{996EFFB0-9BBE-4AD0-B591-9843F24D5B19}" destId="{39D8BA17-B763-48C9-BA50-813E1EE8D1E0}" srcOrd="1" destOrd="0" presId="urn:microsoft.com/office/officeart/2005/8/layout/orgChart1"/>
    <dgm:cxn modelId="{D1036306-A572-4159-817F-BAA9A1956416}" type="presParOf" srcId="{996EFFB0-9BBE-4AD0-B591-9843F24D5B19}" destId="{C9FA0E5D-B4C8-4754-96F4-1302B9FE0209}" srcOrd="2" destOrd="0" presId="urn:microsoft.com/office/officeart/2005/8/layout/orgChart1"/>
    <dgm:cxn modelId="{CCE08252-D748-4EB8-9E18-C98B3ED88A97}" type="presParOf" srcId="{85AD64D0-ECB6-4F39-8C3B-8480DD644C4A}" destId="{DA11D309-1092-4AE0-8E1A-D5BAE19DCA8A}" srcOrd="8" destOrd="0" presId="urn:microsoft.com/office/officeart/2005/8/layout/orgChart1"/>
    <dgm:cxn modelId="{7EA7A9C4-452A-4AE6-9D58-4CB63BB8C50E}" type="presParOf" srcId="{85AD64D0-ECB6-4F39-8C3B-8480DD644C4A}" destId="{3CC22EC9-01FF-4F17-B99B-8A9A7F434FF1}" srcOrd="9" destOrd="0" presId="urn:microsoft.com/office/officeart/2005/8/layout/orgChart1"/>
    <dgm:cxn modelId="{9E147FD6-C66F-4D94-9F77-16993FE967F7}" type="presParOf" srcId="{3CC22EC9-01FF-4F17-B99B-8A9A7F434FF1}" destId="{5FB984FA-E956-45E6-99CF-A05312CF9FDD}" srcOrd="0" destOrd="0" presId="urn:microsoft.com/office/officeart/2005/8/layout/orgChart1"/>
    <dgm:cxn modelId="{8E5F5471-F28A-4C7E-966B-C94CACC405A6}" type="presParOf" srcId="{5FB984FA-E956-45E6-99CF-A05312CF9FDD}" destId="{68A03C29-C904-4B5F-B245-FE371F42DA2A}" srcOrd="0" destOrd="0" presId="urn:microsoft.com/office/officeart/2005/8/layout/orgChart1"/>
    <dgm:cxn modelId="{722E9D81-2211-47EC-BA78-5CF7C8F5E504}" type="presParOf" srcId="{5FB984FA-E956-45E6-99CF-A05312CF9FDD}" destId="{6EFD78ED-EB5D-4649-AE32-1129768CFA83}" srcOrd="1" destOrd="0" presId="urn:microsoft.com/office/officeart/2005/8/layout/orgChart1"/>
    <dgm:cxn modelId="{DEBCD122-9DA2-4AEE-B1C4-ACA29C3B88CA}" type="presParOf" srcId="{3CC22EC9-01FF-4F17-B99B-8A9A7F434FF1}" destId="{1BF35FAA-B363-47B6-9123-BBDD1195EE4D}" srcOrd="1" destOrd="0" presId="urn:microsoft.com/office/officeart/2005/8/layout/orgChart1"/>
    <dgm:cxn modelId="{B9234297-F3CB-48D0-A5E1-BA9AFA09E32D}" type="presParOf" srcId="{3CC22EC9-01FF-4F17-B99B-8A9A7F434FF1}" destId="{4593BB1B-C6BF-4D27-BB2F-D2D5A25D5CF5}" srcOrd="2" destOrd="0" presId="urn:microsoft.com/office/officeart/2005/8/layout/orgChart1"/>
    <dgm:cxn modelId="{4B36FE9A-3775-4C75-B012-796AB40F5A62}" type="presParOf" srcId="{85AD64D0-ECB6-4F39-8C3B-8480DD644C4A}" destId="{9E1206AB-004E-40EA-8ED8-52264F7B664B}" srcOrd="10" destOrd="0" presId="urn:microsoft.com/office/officeart/2005/8/layout/orgChart1"/>
    <dgm:cxn modelId="{0FAE54D1-4F54-44BE-AECA-60A0920F63A5}" type="presParOf" srcId="{85AD64D0-ECB6-4F39-8C3B-8480DD644C4A}" destId="{260F42A5-3865-44ED-AA4F-68A0860DA274}" srcOrd="11" destOrd="0" presId="urn:microsoft.com/office/officeart/2005/8/layout/orgChart1"/>
    <dgm:cxn modelId="{6B622F6B-A873-46AA-88CF-95A8A0CA41E2}" type="presParOf" srcId="{260F42A5-3865-44ED-AA4F-68A0860DA274}" destId="{19D0BAAA-0266-4C15-AE84-C4E1CAAB50A0}" srcOrd="0" destOrd="0" presId="urn:microsoft.com/office/officeart/2005/8/layout/orgChart1"/>
    <dgm:cxn modelId="{84591BBB-9EDA-422B-B8E6-9B1B61DB537C}" type="presParOf" srcId="{19D0BAAA-0266-4C15-AE84-C4E1CAAB50A0}" destId="{883BFE8A-0CA4-4A2D-BAEC-908118206845}" srcOrd="0" destOrd="0" presId="urn:microsoft.com/office/officeart/2005/8/layout/orgChart1"/>
    <dgm:cxn modelId="{6639554B-45D4-4E23-9392-E10D34D4DD04}" type="presParOf" srcId="{19D0BAAA-0266-4C15-AE84-C4E1CAAB50A0}" destId="{2A0B3AD2-70A8-4DAA-804A-78AC1CD56469}" srcOrd="1" destOrd="0" presId="urn:microsoft.com/office/officeart/2005/8/layout/orgChart1"/>
    <dgm:cxn modelId="{82C27968-ED93-4ECE-A28D-5C0415DE3C96}" type="presParOf" srcId="{260F42A5-3865-44ED-AA4F-68A0860DA274}" destId="{608EA5D5-9F34-4FF2-AB06-332C09876955}" srcOrd="1" destOrd="0" presId="urn:microsoft.com/office/officeart/2005/8/layout/orgChart1"/>
    <dgm:cxn modelId="{E0BD970D-0661-4942-AF86-1F111C16D1AC}" type="presParOf" srcId="{260F42A5-3865-44ED-AA4F-68A0860DA274}" destId="{70F21E52-F07F-4279-B246-05FD4DFC3CA0}" srcOrd="2" destOrd="0" presId="urn:microsoft.com/office/officeart/2005/8/layout/orgChart1"/>
    <dgm:cxn modelId="{810A2376-4901-484F-9D74-8E6635775530}" type="presParOf" srcId="{533DC18B-149C-479F-8BC9-BD8D1195FA34}" destId="{AD3D7CFE-165A-4845-9F2D-9C7F5245D735}" srcOrd="2" destOrd="0" presId="urn:microsoft.com/office/officeart/2005/8/layout/orgChart1"/>
    <dgm:cxn modelId="{186CEE51-7C5F-42F5-8343-E68F460A77CC}" type="presParOf" srcId="{AD3D7CFE-165A-4845-9F2D-9C7F5245D735}" destId="{12FED679-2FF6-4128-AA31-831583977F94}" srcOrd="0" destOrd="0" presId="urn:microsoft.com/office/officeart/2005/8/layout/orgChart1"/>
    <dgm:cxn modelId="{ACD0A28A-6F67-4C08-8E9A-59FD0A304589}" type="presParOf" srcId="{AD3D7CFE-165A-4845-9F2D-9C7F5245D735}" destId="{A7430640-C807-4B0D-AAF9-4B5743D3019A}" srcOrd="1" destOrd="0" presId="urn:microsoft.com/office/officeart/2005/8/layout/orgChart1"/>
    <dgm:cxn modelId="{3CECDF1A-7BC9-43CA-9DF7-F598F3B0041D}" type="presParOf" srcId="{A7430640-C807-4B0D-AAF9-4B5743D3019A}" destId="{9B7BB375-64A1-477C-AE7F-BB5E251A18FC}" srcOrd="0" destOrd="0" presId="urn:microsoft.com/office/officeart/2005/8/layout/orgChart1"/>
    <dgm:cxn modelId="{9511A0E2-3E6F-49C2-97D0-279CC66C05AA}" type="presParOf" srcId="{9B7BB375-64A1-477C-AE7F-BB5E251A18FC}" destId="{D17059A9-6644-4650-90DB-2C1E0EBBF16D}" srcOrd="0" destOrd="0" presId="urn:microsoft.com/office/officeart/2005/8/layout/orgChart1"/>
    <dgm:cxn modelId="{819AFDA2-2823-4B24-9900-1BBE3DCCFA6F}" type="presParOf" srcId="{9B7BB375-64A1-477C-AE7F-BB5E251A18FC}" destId="{7BC06553-5BE9-4F9B-8117-C1DD671863FF}" srcOrd="1" destOrd="0" presId="urn:microsoft.com/office/officeart/2005/8/layout/orgChart1"/>
    <dgm:cxn modelId="{35FEA71C-BFE9-43D9-B62E-2162E56BE10F}" type="presParOf" srcId="{A7430640-C807-4B0D-AAF9-4B5743D3019A}" destId="{65F26470-2EFC-4CD9-9AB9-2409C98946D0}" srcOrd="1" destOrd="0" presId="urn:microsoft.com/office/officeart/2005/8/layout/orgChart1"/>
    <dgm:cxn modelId="{20FBAA00-9F9C-4D64-81CB-B9BE00CA80EB}" type="presParOf" srcId="{A7430640-C807-4B0D-AAF9-4B5743D3019A}" destId="{F85BEB38-6D04-4834-9B84-AEA2B162812E}" srcOrd="2" destOrd="0" presId="urn:microsoft.com/office/officeart/2005/8/layout/orgChart1"/>
    <dgm:cxn modelId="{8DF6CCD1-E482-4316-AA01-01CFD17D8A9F}" type="presParOf" srcId="{AD3D7CFE-165A-4845-9F2D-9C7F5245D735}" destId="{A649641A-AB8D-49EF-BB48-DC89359E97B5}" srcOrd="2" destOrd="0" presId="urn:microsoft.com/office/officeart/2005/8/layout/orgChart1"/>
    <dgm:cxn modelId="{FB604000-1E56-4596-971F-E614D8C27ABB}" type="presParOf" srcId="{AD3D7CFE-165A-4845-9F2D-9C7F5245D735}" destId="{7F017C2A-C793-46FA-8B38-E4B99F32F1AF}" srcOrd="3" destOrd="0" presId="urn:microsoft.com/office/officeart/2005/8/layout/orgChart1"/>
    <dgm:cxn modelId="{4615D0D5-AF1B-4013-B095-F6C763590BBB}" type="presParOf" srcId="{7F017C2A-C793-46FA-8B38-E4B99F32F1AF}" destId="{27FFA928-BCEF-44CE-9388-E8DB9E1335BB}" srcOrd="0" destOrd="0" presId="urn:microsoft.com/office/officeart/2005/8/layout/orgChart1"/>
    <dgm:cxn modelId="{E5653CA8-7E89-400B-A208-404A31B1B50E}" type="presParOf" srcId="{27FFA928-BCEF-44CE-9388-E8DB9E1335BB}" destId="{B817EA42-5BAC-4838-B8C6-C3D435AC1253}" srcOrd="0" destOrd="0" presId="urn:microsoft.com/office/officeart/2005/8/layout/orgChart1"/>
    <dgm:cxn modelId="{C1B74ADA-C38B-4EBE-AD86-E8569A783033}" type="presParOf" srcId="{27FFA928-BCEF-44CE-9388-E8DB9E1335BB}" destId="{A9E373A8-3312-45AF-A519-AE2F51493524}" srcOrd="1" destOrd="0" presId="urn:microsoft.com/office/officeart/2005/8/layout/orgChart1"/>
    <dgm:cxn modelId="{B7F4055A-7323-40D3-AC6E-3602F3C0247D}" type="presParOf" srcId="{7F017C2A-C793-46FA-8B38-E4B99F32F1AF}" destId="{F4ED3189-1229-44C4-9E9E-4D7E564EAF04}" srcOrd="1" destOrd="0" presId="urn:microsoft.com/office/officeart/2005/8/layout/orgChart1"/>
    <dgm:cxn modelId="{ADEF49BB-9219-4A8E-9210-F750F57EA0B1}" type="presParOf" srcId="{7F017C2A-C793-46FA-8B38-E4B99F32F1AF}" destId="{7CB8D12D-5A55-4154-AC6F-33BCC44EEC1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60CA96-D885-45EE-80C3-2C77DB62E79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CAFA93-9FEF-4E5F-9642-88CD5E42F757}">
      <dgm:prSet phldrT="[Text]" custT="1"/>
      <dgm:spPr/>
      <dgm:t>
        <a:bodyPr/>
        <a:lstStyle/>
        <a:p>
          <a:r>
            <a:rPr lang="en-US" sz="1400" dirty="0" smtClean="0"/>
            <a:t>CDO</a:t>
          </a:r>
        </a:p>
        <a:p>
          <a:endParaRPr lang="en-US" sz="1400" dirty="0" smtClean="0"/>
        </a:p>
        <a:p>
          <a:r>
            <a:rPr lang="en-US" sz="1200" dirty="0" err="1" smtClean="0"/>
            <a:t>Gerson</a:t>
          </a:r>
          <a:r>
            <a:rPr lang="en-US" sz="1200" dirty="0" smtClean="0"/>
            <a:t> </a:t>
          </a:r>
          <a:r>
            <a:rPr lang="en-US" sz="1200" dirty="0" err="1" smtClean="0"/>
            <a:t>Souto</a:t>
          </a:r>
          <a:endParaRPr lang="en-US" sz="1200" dirty="0"/>
        </a:p>
      </dgm:t>
    </dgm:pt>
    <dgm:pt modelId="{FF93D7E9-E276-4010-86B8-CA35EB566BB4}" type="parTrans" cxnId="{1D71BB0B-44EE-475C-B591-803583BD9134}">
      <dgm:prSet/>
      <dgm:spPr/>
      <dgm:t>
        <a:bodyPr/>
        <a:lstStyle/>
        <a:p>
          <a:endParaRPr lang="en-US"/>
        </a:p>
      </dgm:t>
    </dgm:pt>
    <dgm:pt modelId="{4BFAFDC5-09AB-4B7B-8CD5-0FC56849D49C}" type="sibTrans" cxnId="{1D71BB0B-44EE-475C-B591-803583BD9134}">
      <dgm:prSet/>
      <dgm:spPr/>
      <dgm:t>
        <a:bodyPr/>
        <a:lstStyle/>
        <a:p>
          <a:endParaRPr lang="en-US"/>
        </a:p>
      </dgm:t>
    </dgm:pt>
    <dgm:pt modelId="{E449E611-151C-40B5-89E4-1D6462D35D1C}">
      <dgm:prSet phldrT="[Text]" custT="1"/>
      <dgm:spPr/>
      <dgm:t>
        <a:bodyPr/>
        <a:lstStyle/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Corporate Development</a:t>
          </a: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>Christophe de </a:t>
          </a:r>
          <a:r>
            <a:rPr lang="en-US" sz="1000" dirty="0" err="1" smtClean="0"/>
            <a:t>Hauwer</a:t>
          </a:r>
          <a:endParaRPr lang="en-US" sz="1000" dirty="0"/>
        </a:p>
      </dgm:t>
    </dgm:pt>
    <dgm:pt modelId="{120FEEF4-EF49-4919-8800-7804F01BA61F}" type="parTrans" cxnId="{BD2F723D-4ED5-44C2-8858-A277C32BFE2B}">
      <dgm:prSet/>
      <dgm:spPr/>
      <dgm:t>
        <a:bodyPr/>
        <a:lstStyle/>
        <a:p>
          <a:endParaRPr lang="en-US"/>
        </a:p>
      </dgm:t>
    </dgm:pt>
    <dgm:pt modelId="{9829A6F7-A208-468E-810D-E34FE052FD9F}" type="sibTrans" cxnId="{BD2F723D-4ED5-44C2-8858-A277C32BFE2B}">
      <dgm:prSet/>
      <dgm:spPr/>
      <dgm:t>
        <a:bodyPr/>
        <a:lstStyle/>
        <a:p>
          <a:endParaRPr lang="en-US"/>
        </a:p>
      </dgm:t>
    </dgm:pt>
    <dgm:pt modelId="{67B6AB9F-B20E-4146-8633-6004D6145D7B}">
      <dgm:prSet phldrT="[Text]" custT="1"/>
      <dgm:spPr/>
      <dgm:t>
        <a:bodyPr/>
        <a:lstStyle/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Product Diversification</a:t>
          </a: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>Jean-Luc </a:t>
          </a:r>
          <a:r>
            <a:rPr lang="en-US" sz="1000" dirty="0" err="1" smtClean="0"/>
            <a:t>Gustin</a:t>
          </a:r>
          <a:endParaRPr lang="en-US" sz="1000" dirty="0"/>
        </a:p>
      </dgm:t>
    </dgm:pt>
    <dgm:pt modelId="{1E320E83-014B-4EE3-8DEA-106DC855896F}" type="parTrans" cxnId="{D47B4CB1-4A06-40F7-9640-94CD7DEA55F8}">
      <dgm:prSet/>
      <dgm:spPr/>
      <dgm:t>
        <a:bodyPr/>
        <a:lstStyle/>
        <a:p>
          <a:endParaRPr lang="en-US"/>
        </a:p>
      </dgm:t>
    </dgm:pt>
    <dgm:pt modelId="{F9C52E8B-AE4F-4B43-BC6A-F20417BBB2CF}" type="sibTrans" cxnId="{D47B4CB1-4A06-40F7-9640-94CD7DEA55F8}">
      <dgm:prSet/>
      <dgm:spPr/>
      <dgm:t>
        <a:bodyPr/>
        <a:lstStyle/>
        <a:p>
          <a:endParaRPr lang="en-US"/>
        </a:p>
      </dgm:t>
    </dgm:pt>
    <dgm:pt modelId="{B6EB9376-6534-4D72-AF27-DF95166372A3}">
      <dgm:prSet phldrT="[Text]" custT="1"/>
      <dgm:spPr/>
      <dgm:t>
        <a:bodyPr/>
        <a:lstStyle/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Spectrum Management</a:t>
          </a:r>
          <a:br>
            <a:rPr lang="en-US" sz="1200" dirty="0" smtClean="0"/>
          </a:br>
          <a:r>
            <a:rPr lang="en-US" sz="1200" dirty="0" smtClean="0"/>
            <a:t>&amp; Development</a:t>
          </a:r>
          <a:br>
            <a:rPr lang="en-US" sz="1200" dirty="0" smtClean="0"/>
          </a:br>
          <a:r>
            <a:rPr lang="en-US" sz="1300" dirty="0" smtClean="0"/>
            <a:t/>
          </a:r>
          <a:br>
            <a:rPr lang="en-US" sz="1300" dirty="0" smtClean="0"/>
          </a:br>
          <a:r>
            <a:rPr lang="en-US" sz="1000" dirty="0" smtClean="0"/>
            <a:t>vacant</a:t>
          </a:r>
          <a:endParaRPr lang="en-US" sz="1000" dirty="0"/>
        </a:p>
      </dgm:t>
    </dgm:pt>
    <dgm:pt modelId="{0B5E7BE8-2092-494B-A654-82F98AF31D79}" type="parTrans" cxnId="{E69B8FC1-B1BB-4BC8-8D36-F4112D868F29}">
      <dgm:prSet/>
      <dgm:spPr/>
      <dgm:t>
        <a:bodyPr/>
        <a:lstStyle/>
        <a:p>
          <a:endParaRPr lang="en-US"/>
        </a:p>
      </dgm:t>
    </dgm:pt>
    <dgm:pt modelId="{DFB755C0-7973-4EAD-AE60-941A9CDC4124}" type="sibTrans" cxnId="{E69B8FC1-B1BB-4BC8-8D36-F4112D868F29}">
      <dgm:prSet/>
      <dgm:spPr/>
      <dgm:t>
        <a:bodyPr/>
        <a:lstStyle/>
        <a:p>
          <a:endParaRPr lang="en-US"/>
        </a:p>
      </dgm:t>
    </dgm:pt>
    <dgm:pt modelId="{D1C86818-019E-4929-872E-C12A93842E97}">
      <dgm:prSet phldrT="[Text]" custT="1"/>
      <dgm:spPr/>
      <dgm:t>
        <a:bodyPr/>
        <a:lstStyle/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Fleet Development &amp; Yield Management</a:t>
          </a:r>
          <a:br>
            <a:rPr lang="en-US" sz="1200" dirty="0" smtClean="0"/>
          </a:br>
          <a:r>
            <a:rPr lang="en-US" sz="1200" dirty="0" smtClean="0"/>
            <a:t/>
          </a:r>
          <a:br>
            <a:rPr lang="en-US" sz="1200" dirty="0" smtClean="0"/>
          </a:br>
          <a:r>
            <a:rPr lang="en-US" sz="1000" dirty="0" smtClean="0"/>
            <a:t>Nicolas </a:t>
          </a:r>
          <a:r>
            <a:rPr lang="en-US" sz="1000" dirty="0" err="1" smtClean="0"/>
            <a:t>Boudier</a:t>
          </a:r>
          <a:endParaRPr lang="en-US" sz="1000" dirty="0"/>
        </a:p>
      </dgm:t>
    </dgm:pt>
    <dgm:pt modelId="{FE9366EE-10CE-4699-AC22-81D81C326295}" type="parTrans" cxnId="{665FCDDF-95B8-49D8-91AC-0E54EA10B978}">
      <dgm:prSet/>
      <dgm:spPr/>
      <dgm:t>
        <a:bodyPr/>
        <a:lstStyle/>
        <a:p>
          <a:endParaRPr lang="en-US"/>
        </a:p>
      </dgm:t>
    </dgm:pt>
    <dgm:pt modelId="{C1D7264C-AE20-4BAE-ABCD-8F2692AE7DDF}" type="sibTrans" cxnId="{665FCDDF-95B8-49D8-91AC-0E54EA10B978}">
      <dgm:prSet/>
      <dgm:spPr/>
      <dgm:t>
        <a:bodyPr/>
        <a:lstStyle/>
        <a:p>
          <a:endParaRPr lang="en-US"/>
        </a:p>
      </dgm:t>
    </dgm:pt>
    <dgm:pt modelId="{A9D95B63-62F8-4ECF-9FC1-A27DF26CAB45}">
      <dgm:prSet phldrT="[Text]" custT="1"/>
      <dgm:spPr/>
      <dgm:t>
        <a:bodyPr/>
        <a:lstStyle/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Regional Business Development Americas</a:t>
          </a:r>
          <a:br>
            <a:rPr lang="en-US" sz="1200" dirty="0" smtClean="0"/>
          </a:br>
          <a:r>
            <a:rPr lang="en-US" sz="1200" dirty="0" smtClean="0"/>
            <a:t/>
          </a:r>
          <a:br>
            <a:rPr lang="en-US" sz="1200" dirty="0" smtClean="0"/>
          </a:br>
          <a:r>
            <a:rPr lang="en-US" sz="1000" dirty="0" err="1" smtClean="0"/>
            <a:t>Sergy</a:t>
          </a:r>
          <a:r>
            <a:rPr lang="en-US" sz="1000" dirty="0" smtClean="0"/>
            <a:t> </a:t>
          </a:r>
          <a:r>
            <a:rPr lang="en-US" sz="1000" dirty="0" err="1" smtClean="0"/>
            <a:t>Mummert</a:t>
          </a:r>
          <a:endParaRPr lang="en-US" sz="1000" dirty="0"/>
        </a:p>
      </dgm:t>
    </dgm:pt>
    <dgm:pt modelId="{A5EABCF3-BBA8-4FAC-A75D-1589A1F787B0}" type="parTrans" cxnId="{003D7B92-B86D-4BAE-A10E-BCFF0E04D219}">
      <dgm:prSet/>
      <dgm:spPr/>
      <dgm:t>
        <a:bodyPr/>
        <a:lstStyle/>
        <a:p>
          <a:endParaRPr lang="en-US"/>
        </a:p>
      </dgm:t>
    </dgm:pt>
    <dgm:pt modelId="{850DDB73-8537-4D13-9081-A91FB33C270C}" type="sibTrans" cxnId="{003D7B92-B86D-4BAE-A10E-BCFF0E04D219}">
      <dgm:prSet/>
      <dgm:spPr/>
      <dgm:t>
        <a:bodyPr/>
        <a:lstStyle/>
        <a:p>
          <a:endParaRPr lang="en-US"/>
        </a:p>
      </dgm:t>
    </dgm:pt>
    <dgm:pt modelId="{BF1778F2-7250-4F90-8283-9C14A12453BA}">
      <dgm:prSet phldrT="[Text]" custT="1"/>
      <dgm:spPr/>
      <dgm:t>
        <a:bodyPr/>
        <a:lstStyle/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Regional Business Development EMEA</a:t>
          </a:r>
          <a:br>
            <a:rPr lang="en-US" sz="1200" dirty="0" smtClean="0"/>
          </a:br>
          <a:r>
            <a:rPr lang="en-US" sz="1200" dirty="0" smtClean="0"/>
            <a:t/>
          </a:r>
          <a:br>
            <a:rPr lang="en-US" sz="1200" dirty="0" smtClean="0"/>
          </a:br>
          <a:r>
            <a:rPr lang="en-US" sz="1000" dirty="0" smtClean="0"/>
            <a:t>Daniel </a:t>
          </a:r>
          <a:r>
            <a:rPr lang="en-US" sz="1000" dirty="0" err="1" smtClean="0"/>
            <a:t>Biedermann</a:t>
          </a:r>
          <a:endParaRPr lang="en-US" sz="1000" dirty="0"/>
        </a:p>
      </dgm:t>
    </dgm:pt>
    <dgm:pt modelId="{813C61E0-D61B-4AAE-B6F4-F72B63D42E9A}" type="parTrans" cxnId="{7DE84BA7-D375-4835-8409-3671AA151396}">
      <dgm:prSet/>
      <dgm:spPr/>
      <dgm:t>
        <a:bodyPr/>
        <a:lstStyle/>
        <a:p>
          <a:endParaRPr lang="en-US"/>
        </a:p>
      </dgm:t>
    </dgm:pt>
    <dgm:pt modelId="{1CFC59FC-002F-4354-B2EE-59885CD9FDAE}" type="sibTrans" cxnId="{7DE84BA7-D375-4835-8409-3671AA151396}">
      <dgm:prSet/>
      <dgm:spPr/>
      <dgm:t>
        <a:bodyPr/>
        <a:lstStyle/>
        <a:p>
          <a:endParaRPr lang="en-US"/>
        </a:p>
      </dgm:t>
    </dgm:pt>
    <dgm:pt modelId="{4840A4A4-FFEF-481A-9A82-082F5D35DB54}">
      <dgm:prSet phldrT="[Text]" custT="1"/>
      <dgm:spPr/>
      <dgm:t>
        <a:bodyPr/>
        <a:lstStyle/>
        <a:p>
          <a:r>
            <a:rPr lang="en-US" sz="1200" dirty="0" smtClean="0"/>
            <a:t>Regional Business Development Asia Pacific</a:t>
          </a:r>
        </a:p>
        <a:p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>Elias </a:t>
          </a:r>
          <a:r>
            <a:rPr lang="en-US" sz="1000" dirty="0" err="1" smtClean="0"/>
            <a:t>Zaccack</a:t>
          </a:r>
          <a:endParaRPr lang="en-US" sz="1000" dirty="0"/>
        </a:p>
      </dgm:t>
    </dgm:pt>
    <dgm:pt modelId="{79624082-191D-4F29-A5E8-F40DC044A2E7}" type="parTrans" cxnId="{AD6D01B1-A606-4854-A5D1-8B746EB841B7}">
      <dgm:prSet/>
      <dgm:spPr/>
      <dgm:t>
        <a:bodyPr/>
        <a:lstStyle/>
        <a:p>
          <a:endParaRPr lang="en-US"/>
        </a:p>
      </dgm:t>
    </dgm:pt>
    <dgm:pt modelId="{7B6B5590-304F-477C-A77C-E33D2E5458CF}" type="sibTrans" cxnId="{AD6D01B1-A606-4854-A5D1-8B746EB841B7}">
      <dgm:prSet/>
      <dgm:spPr/>
      <dgm:t>
        <a:bodyPr/>
        <a:lstStyle/>
        <a:p>
          <a:endParaRPr lang="en-US"/>
        </a:p>
      </dgm:t>
    </dgm:pt>
    <dgm:pt modelId="{5F26EB0B-98BB-4103-9CDD-BB9EE9D889B4}" type="pres">
      <dgm:prSet presAssocID="{EF60CA96-D885-45EE-80C3-2C77DB62E79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33DC18B-149C-479F-8BC9-BD8D1195FA34}" type="pres">
      <dgm:prSet presAssocID="{44CAFA93-9FEF-4E5F-9642-88CD5E42F757}" presName="hierRoot1" presStyleCnt="0">
        <dgm:presLayoutVars>
          <dgm:hierBranch val="init"/>
        </dgm:presLayoutVars>
      </dgm:prSet>
      <dgm:spPr/>
    </dgm:pt>
    <dgm:pt modelId="{061A4E60-863E-4629-999C-8DC00B7E0AEA}" type="pres">
      <dgm:prSet presAssocID="{44CAFA93-9FEF-4E5F-9642-88CD5E42F757}" presName="rootComposite1" presStyleCnt="0"/>
      <dgm:spPr/>
    </dgm:pt>
    <dgm:pt modelId="{E54AF0DD-8C8D-4068-8B21-DB050E42C239}" type="pres">
      <dgm:prSet presAssocID="{44CAFA93-9FEF-4E5F-9642-88CD5E42F757}" presName="rootText1" presStyleLbl="node0" presStyleIdx="0" presStyleCnt="1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621643-E79A-40DA-8614-1D0BF563D304}" type="pres">
      <dgm:prSet presAssocID="{44CAFA93-9FEF-4E5F-9642-88CD5E42F757}" presName="rootConnector1" presStyleLbl="node1" presStyleIdx="0" presStyleCnt="0"/>
      <dgm:spPr/>
      <dgm:t>
        <a:bodyPr/>
        <a:lstStyle/>
        <a:p>
          <a:endParaRPr lang="en-US"/>
        </a:p>
      </dgm:t>
    </dgm:pt>
    <dgm:pt modelId="{85AD64D0-ECB6-4F39-8C3B-8480DD644C4A}" type="pres">
      <dgm:prSet presAssocID="{44CAFA93-9FEF-4E5F-9642-88CD5E42F757}" presName="hierChild2" presStyleCnt="0"/>
      <dgm:spPr/>
    </dgm:pt>
    <dgm:pt modelId="{E16A8FD6-EBA2-425B-A78F-8EF5181173A9}" type="pres">
      <dgm:prSet presAssocID="{120FEEF4-EF49-4919-8800-7804F01BA61F}" presName="Name37" presStyleLbl="parChTrans1D2" presStyleIdx="0" presStyleCnt="7"/>
      <dgm:spPr/>
      <dgm:t>
        <a:bodyPr/>
        <a:lstStyle/>
        <a:p>
          <a:endParaRPr lang="en-US"/>
        </a:p>
      </dgm:t>
    </dgm:pt>
    <dgm:pt modelId="{40973984-67C0-429D-81CE-3F53BAAF3C05}" type="pres">
      <dgm:prSet presAssocID="{E449E611-151C-40B5-89E4-1D6462D35D1C}" presName="hierRoot2" presStyleCnt="0">
        <dgm:presLayoutVars>
          <dgm:hierBranch val="init"/>
        </dgm:presLayoutVars>
      </dgm:prSet>
      <dgm:spPr/>
    </dgm:pt>
    <dgm:pt modelId="{C0B54FC1-B082-4480-8751-5D2851D10905}" type="pres">
      <dgm:prSet presAssocID="{E449E611-151C-40B5-89E4-1D6462D35D1C}" presName="rootComposite" presStyleCnt="0"/>
      <dgm:spPr/>
    </dgm:pt>
    <dgm:pt modelId="{52F3F4D1-2C17-40A3-BB38-4103BC39E648}" type="pres">
      <dgm:prSet presAssocID="{E449E611-151C-40B5-89E4-1D6462D35D1C}" presName="rootText" presStyleLbl="node2" presStyleIdx="0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9D6BE6C-2ADD-4EA4-8EA2-050CA0102470}" type="pres">
      <dgm:prSet presAssocID="{E449E611-151C-40B5-89E4-1D6462D35D1C}" presName="rootConnector" presStyleLbl="node2" presStyleIdx="0" presStyleCnt="7"/>
      <dgm:spPr/>
      <dgm:t>
        <a:bodyPr/>
        <a:lstStyle/>
        <a:p>
          <a:endParaRPr lang="en-US"/>
        </a:p>
      </dgm:t>
    </dgm:pt>
    <dgm:pt modelId="{7BE2B0FF-0403-42FA-A1B3-FC26F8BFD787}" type="pres">
      <dgm:prSet presAssocID="{E449E611-151C-40B5-89E4-1D6462D35D1C}" presName="hierChild4" presStyleCnt="0"/>
      <dgm:spPr/>
    </dgm:pt>
    <dgm:pt modelId="{FD16C55E-5C0E-4850-B281-B2C969F7292A}" type="pres">
      <dgm:prSet presAssocID="{E449E611-151C-40B5-89E4-1D6462D35D1C}" presName="hierChild5" presStyleCnt="0"/>
      <dgm:spPr/>
    </dgm:pt>
    <dgm:pt modelId="{41CFCF0A-25A5-4503-BB89-4781CE01F0E7}" type="pres">
      <dgm:prSet presAssocID="{1E320E83-014B-4EE3-8DEA-106DC855896F}" presName="Name37" presStyleLbl="parChTrans1D2" presStyleIdx="1" presStyleCnt="7"/>
      <dgm:spPr/>
      <dgm:t>
        <a:bodyPr/>
        <a:lstStyle/>
        <a:p>
          <a:endParaRPr lang="en-US"/>
        </a:p>
      </dgm:t>
    </dgm:pt>
    <dgm:pt modelId="{05CB6007-43C4-409F-8B56-09AE80C99114}" type="pres">
      <dgm:prSet presAssocID="{67B6AB9F-B20E-4146-8633-6004D6145D7B}" presName="hierRoot2" presStyleCnt="0">
        <dgm:presLayoutVars>
          <dgm:hierBranch val="init"/>
        </dgm:presLayoutVars>
      </dgm:prSet>
      <dgm:spPr/>
    </dgm:pt>
    <dgm:pt modelId="{26C86D9B-92AC-4603-AAB5-A74B1DE87B5D}" type="pres">
      <dgm:prSet presAssocID="{67B6AB9F-B20E-4146-8633-6004D6145D7B}" presName="rootComposite" presStyleCnt="0"/>
      <dgm:spPr/>
    </dgm:pt>
    <dgm:pt modelId="{C5F933B0-21BA-4861-971A-95BD08C6E080}" type="pres">
      <dgm:prSet presAssocID="{67B6AB9F-B20E-4146-8633-6004D6145D7B}" presName="rootText" presStyleLbl="node2" presStyleIdx="1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AEABE99-3852-4A60-BD5A-9EF670C75D8B}" type="pres">
      <dgm:prSet presAssocID="{67B6AB9F-B20E-4146-8633-6004D6145D7B}" presName="rootConnector" presStyleLbl="node2" presStyleIdx="1" presStyleCnt="7"/>
      <dgm:spPr/>
      <dgm:t>
        <a:bodyPr/>
        <a:lstStyle/>
        <a:p>
          <a:endParaRPr lang="en-US"/>
        </a:p>
      </dgm:t>
    </dgm:pt>
    <dgm:pt modelId="{A758E4B0-79C0-4F7E-BB37-36562924255A}" type="pres">
      <dgm:prSet presAssocID="{67B6AB9F-B20E-4146-8633-6004D6145D7B}" presName="hierChild4" presStyleCnt="0"/>
      <dgm:spPr/>
    </dgm:pt>
    <dgm:pt modelId="{11DC3FC7-82D4-428D-AF07-2D7BA31645A1}" type="pres">
      <dgm:prSet presAssocID="{67B6AB9F-B20E-4146-8633-6004D6145D7B}" presName="hierChild5" presStyleCnt="0"/>
      <dgm:spPr/>
    </dgm:pt>
    <dgm:pt modelId="{23D78961-646E-4D49-9A0F-C068D6B67498}" type="pres">
      <dgm:prSet presAssocID="{0B5E7BE8-2092-494B-A654-82F98AF31D79}" presName="Name37" presStyleLbl="parChTrans1D2" presStyleIdx="2" presStyleCnt="7"/>
      <dgm:spPr/>
      <dgm:t>
        <a:bodyPr/>
        <a:lstStyle/>
        <a:p>
          <a:endParaRPr lang="en-US"/>
        </a:p>
      </dgm:t>
    </dgm:pt>
    <dgm:pt modelId="{3518C9B9-FA23-4F93-BC53-5E07AB30F02F}" type="pres">
      <dgm:prSet presAssocID="{B6EB9376-6534-4D72-AF27-DF95166372A3}" presName="hierRoot2" presStyleCnt="0">
        <dgm:presLayoutVars>
          <dgm:hierBranch val="init"/>
        </dgm:presLayoutVars>
      </dgm:prSet>
      <dgm:spPr/>
    </dgm:pt>
    <dgm:pt modelId="{40248DB1-4BD7-437F-8788-137F48779D0D}" type="pres">
      <dgm:prSet presAssocID="{B6EB9376-6534-4D72-AF27-DF95166372A3}" presName="rootComposite" presStyleCnt="0"/>
      <dgm:spPr/>
    </dgm:pt>
    <dgm:pt modelId="{90661963-D149-4BC7-BB94-6837BE3D5342}" type="pres">
      <dgm:prSet presAssocID="{B6EB9376-6534-4D72-AF27-DF95166372A3}" presName="rootText" presStyleLbl="node2" presStyleIdx="2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CEEBFE9-4AFE-4870-8E26-D944E8B46015}" type="pres">
      <dgm:prSet presAssocID="{B6EB9376-6534-4D72-AF27-DF95166372A3}" presName="rootConnector" presStyleLbl="node2" presStyleIdx="2" presStyleCnt="7"/>
      <dgm:spPr/>
      <dgm:t>
        <a:bodyPr/>
        <a:lstStyle/>
        <a:p>
          <a:endParaRPr lang="en-US"/>
        </a:p>
      </dgm:t>
    </dgm:pt>
    <dgm:pt modelId="{60F99D95-E6CE-4E70-9765-96C70710B7B3}" type="pres">
      <dgm:prSet presAssocID="{B6EB9376-6534-4D72-AF27-DF95166372A3}" presName="hierChild4" presStyleCnt="0"/>
      <dgm:spPr/>
    </dgm:pt>
    <dgm:pt modelId="{FBFEE448-91B8-4DE7-A2DC-0C6E46D0854F}" type="pres">
      <dgm:prSet presAssocID="{B6EB9376-6534-4D72-AF27-DF95166372A3}" presName="hierChild5" presStyleCnt="0"/>
      <dgm:spPr/>
    </dgm:pt>
    <dgm:pt modelId="{31C9B838-5252-493F-8210-59FA71DCA6E2}" type="pres">
      <dgm:prSet presAssocID="{FE9366EE-10CE-4699-AC22-81D81C326295}" presName="Name37" presStyleLbl="parChTrans1D2" presStyleIdx="3" presStyleCnt="7"/>
      <dgm:spPr/>
      <dgm:t>
        <a:bodyPr/>
        <a:lstStyle/>
        <a:p>
          <a:endParaRPr lang="en-US"/>
        </a:p>
      </dgm:t>
    </dgm:pt>
    <dgm:pt modelId="{996EFFB0-9BBE-4AD0-B591-9843F24D5B19}" type="pres">
      <dgm:prSet presAssocID="{D1C86818-019E-4929-872E-C12A93842E97}" presName="hierRoot2" presStyleCnt="0">
        <dgm:presLayoutVars>
          <dgm:hierBranch val="init"/>
        </dgm:presLayoutVars>
      </dgm:prSet>
      <dgm:spPr/>
    </dgm:pt>
    <dgm:pt modelId="{317F5EE7-9701-4334-B5C7-06A8D83B01ED}" type="pres">
      <dgm:prSet presAssocID="{D1C86818-019E-4929-872E-C12A93842E97}" presName="rootComposite" presStyleCnt="0"/>
      <dgm:spPr/>
    </dgm:pt>
    <dgm:pt modelId="{947849E2-FCC1-4BAA-8346-67F8F63DDBD7}" type="pres">
      <dgm:prSet presAssocID="{D1C86818-019E-4929-872E-C12A93842E97}" presName="rootText" presStyleLbl="node2" presStyleIdx="3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79FFC9-89D4-4547-BC61-DACD52D1B71B}" type="pres">
      <dgm:prSet presAssocID="{D1C86818-019E-4929-872E-C12A93842E97}" presName="rootConnector" presStyleLbl="node2" presStyleIdx="3" presStyleCnt="7"/>
      <dgm:spPr/>
      <dgm:t>
        <a:bodyPr/>
        <a:lstStyle/>
        <a:p>
          <a:endParaRPr lang="en-US"/>
        </a:p>
      </dgm:t>
    </dgm:pt>
    <dgm:pt modelId="{39D8BA17-B763-48C9-BA50-813E1EE8D1E0}" type="pres">
      <dgm:prSet presAssocID="{D1C86818-019E-4929-872E-C12A93842E97}" presName="hierChild4" presStyleCnt="0"/>
      <dgm:spPr/>
    </dgm:pt>
    <dgm:pt modelId="{C9FA0E5D-B4C8-4754-96F4-1302B9FE0209}" type="pres">
      <dgm:prSet presAssocID="{D1C86818-019E-4929-872E-C12A93842E97}" presName="hierChild5" presStyleCnt="0"/>
      <dgm:spPr/>
    </dgm:pt>
    <dgm:pt modelId="{DA11D309-1092-4AE0-8E1A-D5BAE19DCA8A}" type="pres">
      <dgm:prSet presAssocID="{A5EABCF3-BBA8-4FAC-A75D-1589A1F787B0}" presName="Name37" presStyleLbl="parChTrans1D2" presStyleIdx="4" presStyleCnt="7"/>
      <dgm:spPr/>
      <dgm:t>
        <a:bodyPr/>
        <a:lstStyle/>
        <a:p>
          <a:endParaRPr lang="en-US"/>
        </a:p>
      </dgm:t>
    </dgm:pt>
    <dgm:pt modelId="{3CC22EC9-01FF-4F17-B99B-8A9A7F434FF1}" type="pres">
      <dgm:prSet presAssocID="{A9D95B63-62F8-4ECF-9FC1-A27DF26CAB45}" presName="hierRoot2" presStyleCnt="0">
        <dgm:presLayoutVars>
          <dgm:hierBranch val="init"/>
        </dgm:presLayoutVars>
      </dgm:prSet>
      <dgm:spPr/>
    </dgm:pt>
    <dgm:pt modelId="{5FB984FA-E956-45E6-99CF-A05312CF9FDD}" type="pres">
      <dgm:prSet presAssocID="{A9D95B63-62F8-4ECF-9FC1-A27DF26CAB45}" presName="rootComposite" presStyleCnt="0"/>
      <dgm:spPr/>
    </dgm:pt>
    <dgm:pt modelId="{68A03C29-C904-4B5F-B245-FE371F42DA2A}" type="pres">
      <dgm:prSet presAssocID="{A9D95B63-62F8-4ECF-9FC1-A27DF26CAB45}" presName="rootText" presStyleLbl="node2" presStyleIdx="4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D78ED-EB5D-4649-AE32-1129768CFA83}" type="pres">
      <dgm:prSet presAssocID="{A9D95B63-62F8-4ECF-9FC1-A27DF26CAB45}" presName="rootConnector" presStyleLbl="node2" presStyleIdx="4" presStyleCnt="7"/>
      <dgm:spPr/>
      <dgm:t>
        <a:bodyPr/>
        <a:lstStyle/>
        <a:p>
          <a:endParaRPr lang="en-US"/>
        </a:p>
      </dgm:t>
    </dgm:pt>
    <dgm:pt modelId="{1BF35FAA-B363-47B6-9123-BBDD1195EE4D}" type="pres">
      <dgm:prSet presAssocID="{A9D95B63-62F8-4ECF-9FC1-A27DF26CAB45}" presName="hierChild4" presStyleCnt="0"/>
      <dgm:spPr/>
    </dgm:pt>
    <dgm:pt modelId="{4593BB1B-C6BF-4D27-BB2F-D2D5A25D5CF5}" type="pres">
      <dgm:prSet presAssocID="{A9D95B63-62F8-4ECF-9FC1-A27DF26CAB45}" presName="hierChild5" presStyleCnt="0"/>
      <dgm:spPr/>
    </dgm:pt>
    <dgm:pt modelId="{9E1206AB-004E-40EA-8ED8-52264F7B664B}" type="pres">
      <dgm:prSet presAssocID="{813C61E0-D61B-4AAE-B6F4-F72B63D42E9A}" presName="Name37" presStyleLbl="parChTrans1D2" presStyleIdx="5" presStyleCnt="7"/>
      <dgm:spPr/>
      <dgm:t>
        <a:bodyPr/>
        <a:lstStyle/>
        <a:p>
          <a:endParaRPr lang="en-US"/>
        </a:p>
      </dgm:t>
    </dgm:pt>
    <dgm:pt modelId="{260F42A5-3865-44ED-AA4F-68A0860DA274}" type="pres">
      <dgm:prSet presAssocID="{BF1778F2-7250-4F90-8283-9C14A12453BA}" presName="hierRoot2" presStyleCnt="0">
        <dgm:presLayoutVars>
          <dgm:hierBranch val="init"/>
        </dgm:presLayoutVars>
      </dgm:prSet>
      <dgm:spPr/>
    </dgm:pt>
    <dgm:pt modelId="{19D0BAAA-0266-4C15-AE84-C4E1CAAB50A0}" type="pres">
      <dgm:prSet presAssocID="{BF1778F2-7250-4F90-8283-9C14A12453BA}" presName="rootComposite" presStyleCnt="0"/>
      <dgm:spPr/>
    </dgm:pt>
    <dgm:pt modelId="{883BFE8A-0CA4-4A2D-BAEC-908118206845}" type="pres">
      <dgm:prSet presAssocID="{BF1778F2-7250-4F90-8283-9C14A12453BA}" presName="rootText" presStyleLbl="node2" presStyleIdx="5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A0B3AD2-70A8-4DAA-804A-78AC1CD56469}" type="pres">
      <dgm:prSet presAssocID="{BF1778F2-7250-4F90-8283-9C14A12453BA}" presName="rootConnector" presStyleLbl="node2" presStyleIdx="5" presStyleCnt="7"/>
      <dgm:spPr/>
      <dgm:t>
        <a:bodyPr/>
        <a:lstStyle/>
        <a:p>
          <a:endParaRPr lang="en-US"/>
        </a:p>
      </dgm:t>
    </dgm:pt>
    <dgm:pt modelId="{608EA5D5-9F34-4FF2-AB06-332C09876955}" type="pres">
      <dgm:prSet presAssocID="{BF1778F2-7250-4F90-8283-9C14A12453BA}" presName="hierChild4" presStyleCnt="0"/>
      <dgm:spPr/>
    </dgm:pt>
    <dgm:pt modelId="{70F21E52-F07F-4279-B246-05FD4DFC3CA0}" type="pres">
      <dgm:prSet presAssocID="{BF1778F2-7250-4F90-8283-9C14A12453BA}" presName="hierChild5" presStyleCnt="0"/>
      <dgm:spPr/>
    </dgm:pt>
    <dgm:pt modelId="{ABEC1C4A-0695-408A-B593-0938A1E283F2}" type="pres">
      <dgm:prSet presAssocID="{79624082-191D-4F29-A5E8-F40DC044A2E7}" presName="Name37" presStyleLbl="parChTrans1D2" presStyleIdx="6" presStyleCnt="7"/>
      <dgm:spPr/>
      <dgm:t>
        <a:bodyPr/>
        <a:lstStyle/>
        <a:p>
          <a:endParaRPr lang="en-US"/>
        </a:p>
      </dgm:t>
    </dgm:pt>
    <dgm:pt modelId="{232FCBD2-5D40-41E4-9EE7-3AFD6EF8F0A8}" type="pres">
      <dgm:prSet presAssocID="{4840A4A4-FFEF-481A-9A82-082F5D35DB54}" presName="hierRoot2" presStyleCnt="0">
        <dgm:presLayoutVars>
          <dgm:hierBranch val="init"/>
        </dgm:presLayoutVars>
      </dgm:prSet>
      <dgm:spPr/>
    </dgm:pt>
    <dgm:pt modelId="{F8246479-F910-40D5-8B9F-5B9F933068A4}" type="pres">
      <dgm:prSet presAssocID="{4840A4A4-FFEF-481A-9A82-082F5D35DB54}" presName="rootComposite" presStyleCnt="0"/>
      <dgm:spPr/>
    </dgm:pt>
    <dgm:pt modelId="{EADB63DC-AE97-4FF1-B88B-F61277605997}" type="pres">
      <dgm:prSet presAssocID="{4840A4A4-FFEF-481A-9A82-082F5D35DB54}" presName="rootText" presStyleLbl="node2" presStyleIdx="6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482DC9B-4177-4E67-A2D4-E52EECF3692C}" type="pres">
      <dgm:prSet presAssocID="{4840A4A4-FFEF-481A-9A82-082F5D35DB54}" presName="rootConnector" presStyleLbl="node2" presStyleIdx="6" presStyleCnt="7"/>
      <dgm:spPr/>
      <dgm:t>
        <a:bodyPr/>
        <a:lstStyle/>
        <a:p>
          <a:endParaRPr lang="en-US"/>
        </a:p>
      </dgm:t>
    </dgm:pt>
    <dgm:pt modelId="{AA62C22D-E768-4E56-BD12-2EF92A4523D7}" type="pres">
      <dgm:prSet presAssocID="{4840A4A4-FFEF-481A-9A82-082F5D35DB54}" presName="hierChild4" presStyleCnt="0"/>
      <dgm:spPr/>
    </dgm:pt>
    <dgm:pt modelId="{DA6E298B-5433-486C-A0D7-076511949EF1}" type="pres">
      <dgm:prSet presAssocID="{4840A4A4-FFEF-481A-9A82-082F5D35DB54}" presName="hierChild5" presStyleCnt="0"/>
      <dgm:spPr/>
    </dgm:pt>
    <dgm:pt modelId="{AD3D7CFE-165A-4845-9F2D-9C7F5245D735}" type="pres">
      <dgm:prSet presAssocID="{44CAFA93-9FEF-4E5F-9642-88CD5E42F757}" presName="hierChild3" presStyleCnt="0"/>
      <dgm:spPr/>
    </dgm:pt>
  </dgm:ptLst>
  <dgm:cxnLst>
    <dgm:cxn modelId="{0DB5DD53-4F65-4F99-9D41-6B0B76E2BBBF}" type="presOf" srcId="{44CAFA93-9FEF-4E5F-9642-88CD5E42F757}" destId="{F2621643-E79A-40DA-8614-1D0BF563D304}" srcOrd="1" destOrd="0" presId="urn:microsoft.com/office/officeart/2005/8/layout/orgChart1"/>
    <dgm:cxn modelId="{33D46DF2-8A08-4765-A2DC-F1821A13AE9A}" type="presOf" srcId="{EF60CA96-D885-45EE-80C3-2C77DB62E790}" destId="{5F26EB0B-98BB-4103-9CDD-BB9EE9D889B4}" srcOrd="0" destOrd="0" presId="urn:microsoft.com/office/officeart/2005/8/layout/orgChart1"/>
    <dgm:cxn modelId="{D47B4CB1-4A06-40F7-9640-94CD7DEA55F8}" srcId="{44CAFA93-9FEF-4E5F-9642-88CD5E42F757}" destId="{67B6AB9F-B20E-4146-8633-6004D6145D7B}" srcOrd="1" destOrd="0" parTransId="{1E320E83-014B-4EE3-8DEA-106DC855896F}" sibTransId="{F9C52E8B-AE4F-4B43-BC6A-F20417BBB2CF}"/>
    <dgm:cxn modelId="{D4085EC1-A99C-487D-80C8-B37401E26004}" type="presOf" srcId="{44CAFA93-9FEF-4E5F-9642-88CD5E42F757}" destId="{E54AF0DD-8C8D-4068-8B21-DB050E42C239}" srcOrd="0" destOrd="0" presId="urn:microsoft.com/office/officeart/2005/8/layout/orgChart1"/>
    <dgm:cxn modelId="{A018C205-5873-4AEE-B80B-718BE7F10EC9}" type="presOf" srcId="{E449E611-151C-40B5-89E4-1D6462D35D1C}" destId="{52F3F4D1-2C17-40A3-BB38-4103BC39E648}" srcOrd="0" destOrd="0" presId="urn:microsoft.com/office/officeart/2005/8/layout/orgChart1"/>
    <dgm:cxn modelId="{CB46DCB1-3E78-4BFA-BD1B-F9D86CA9993D}" type="presOf" srcId="{BF1778F2-7250-4F90-8283-9C14A12453BA}" destId="{883BFE8A-0CA4-4A2D-BAEC-908118206845}" srcOrd="0" destOrd="0" presId="urn:microsoft.com/office/officeart/2005/8/layout/orgChart1"/>
    <dgm:cxn modelId="{3373E9CC-9A10-49F3-9783-B960E227C5A7}" type="presOf" srcId="{A5EABCF3-BBA8-4FAC-A75D-1589A1F787B0}" destId="{DA11D309-1092-4AE0-8E1A-D5BAE19DCA8A}" srcOrd="0" destOrd="0" presId="urn:microsoft.com/office/officeart/2005/8/layout/orgChart1"/>
    <dgm:cxn modelId="{4B3B8808-588C-4497-856F-8A30B206E1DD}" type="presOf" srcId="{A9D95B63-62F8-4ECF-9FC1-A27DF26CAB45}" destId="{6EFD78ED-EB5D-4649-AE32-1129768CFA83}" srcOrd="1" destOrd="0" presId="urn:microsoft.com/office/officeart/2005/8/layout/orgChart1"/>
    <dgm:cxn modelId="{7DE84BA7-D375-4835-8409-3671AA151396}" srcId="{44CAFA93-9FEF-4E5F-9642-88CD5E42F757}" destId="{BF1778F2-7250-4F90-8283-9C14A12453BA}" srcOrd="5" destOrd="0" parTransId="{813C61E0-D61B-4AAE-B6F4-F72B63D42E9A}" sibTransId="{1CFC59FC-002F-4354-B2EE-59885CD9FDAE}"/>
    <dgm:cxn modelId="{665FCDDF-95B8-49D8-91AC-0E54EA10B978}" srcId="{44CAFA93-9FEF-4E5F-9642-88CD5E42F757}" destId="{D1C86818-019E-4929-872E-C12A93842E97}" srcOrd="3" destOrd="0" parTransId="{FE9366EE-10CE-4699-AC22-81D81C326295}" sibTransId="{C1D7264C-AE20-4BAE-ABCD-8F2692AE7DDF}"/>
    <dgm:cxn modelId="{003D7B92-B86D-4BAE-A10E-BCFF0E04D219}" srcId="{44CAFA93-9FEF-4E5F-9642-88CD5E42F757}" destId="{A9D95B63-62F8-4ECF-9FC1-A27DF26CAB45}" srcOrd="4" destOrd="0" parTransId="{A5EABCF3-BBA8-4FAC-A75D-1589A1F787B0}" sibTransId="{850DDB73-8537-4D13-9081-A91FB33C270C}"/>
    <dgm:cxn modelId="{2E7667C0-8D21-4DC2-A86A-2FDBD2F901C5}" type="presOf" srcId="{B6EB9376-6534-4D72-AF27-DF95166372A3}" destId="{90661963-D149-4BC7-BB94-6837BE3D5342}" srcOrd="0" destOrd="0" presId="urn:microsoft.com/office/officeart/2005/8/layout/orgChart1"/>
    <dgm:cxn modelId="{57A09D8D-2DC8-4455-BF63-3D4972DB3143}" type="presOf" srcId="{0B5E7BE8-2092-494B-A654-82F98AF31D79}" destId="{23D78961-646E-4D49-9A0F-C068D6B67498}" srcOrd="0" destOrd="0" presId="urn:microsoft.com/office/officeart/2005/8/layout/orgChart1"/>
    <dgm:cxn modelId="{1D71BB0B-44EE-475C-B591-803583BD9134}" srcId="{EF60CA96-D885-45EE-80C3-2C77DB62E790}" destId="{44CAFA93-9FEF-4E5F-9642-88CD5E42F757}" srcOrd="0" destOrd="0" parTransId="{FF93D7E9-E276-4010-86B8-CA35EB566BB4}" sibTransId="{4BFAFDC5-09AB-4B7B-8CD5-0FC56849D49C}"/>
    <dgm:cxn modelId="{E69B8FC1-B1BB-4BC8-8D36-F4112D868F29}" srcId="{44CAFA93-9FEF-4E5F-9642-88CD5E42F757}" destId="{B6EB9376-6534-4D72-AF27-DF95166372A3}" srcOrd="2" destOrd="0" parTransId="{0B5E7BE8-2092-494B-A654-82F98AF31D79}" sibTransId="{DFB755C0-7973-4EAD-AE60-941A9CDC4124}"/>
    <dgm:cxn modelId="{CC878094-825A-4F28-B3E1-6CEAAC1AD634}" type="presOf" srcId="{B6EB9376-6534-4D72-AF27-DF95166372A3}" destId="{ECEEBFE9-4AFE-4870-8E26-D944E8B46015}" srcOrd="1" destOrd="0" presId="urn:microsoft.com/office/officeart/2005/8/layout/orgChart1"/>
    <dgm:cxn modelId="{C990736B-B1AE-436E-AF06-8C0961776FCB}" type="presOf" srcId="{79624082-191D-4F29-A5E8-F40DC044A2E7}" destId="{ABEC1C4A-0695-408A-B593-0938A1E283F2}" srcOrd="0" destOrd="0" presId="urn:microsoft.com/office/officeart/2005/8/layout/orgChart1"/>
    <dgm:cxn modelId="{EB1E0C56-34DF-4102-96F4-F60F09C2D98B}" type="presOf" srcId="{813C61E0-D61B-4AAE-B6F4-F72B63D42E9A}" destId="{9E1206AB-004E-40EA-8ED8-52264F7B664B}" srcOrd="0" destOrd="0" presId="urn:microsoft.com/office/officeart/2005/8/layout/orgChart1"/>
    <dgm:cxn modelId="{BD2F723D-4ED5-44C2-8858-A277C32BFE2B}" srcId="{44CAFA93-9FEF-4E5F-9642-88CD5E42F757}" destId="{E449E611-151C-40B5-89E4-1D6462D35D1C}" srcOrd="0" destOrd="0" parTransId="{120FEEF4-EF49-4919-8800-7804F01BA61F}" sibTransId="{9829A6F7-A208-468E-810D-E34FE052FD9F}"/>
    <dgm:cxn modelId="{B7B0C741-694A-4FFF-BEAE-800A8D4DC7B3}" type="presOf" srcId="{67B6AB9F-B20E-4146-8633-6004D6145D7B}" destId="{7AEABE99-3852-4A60-BD5A-9EF670C75D8B}" srcOrd="1" destOrd="0" presId="urn:microsoft.com/office/officeart/2005/8/layout/orgChart1"/>
    <dgm:cxn modelId="{0F30D66D-10CF-499E-A781-101D9AF4C23D}" type="presOf" srcId="{FE9366EE-10CE-4699-AC22-81D81C326295}" destId="{31C9B838-5252-493F-8210-59FA71DCA6E2}" srcOrd="0" destOrd="0" presId="urn:microsoft.com/office/officeart/2005/8/layout/orgChart1"/>
    <dgm:cxn modelId="{D4363FFE-1AE0-4BFB-87A1-DA1ED5C00AD8}" type="presOf" srcId="{1E320E83-014B-4EE3-8DEA-106DC855896F}" destId="{41CFCF0A-25A5-4503-BB89-4781CE01F0E7}" srcOrd="0" destOrd="0" presId="urn:microsoft.com/office/officeart/2005/8/layout/orgChart1"/>
    <dgm:cxn modelId="{6B80B5A9-886C-4F9B-8FA4-A27FD98E14D5}" type="presOf" srcId="{67B6AB9F-B20E-4146-8633-6004D6145D7B}" destId="{C5F933B0-21BA-4861-971A-95BD08C6E080}" srcOrd="0" destOrd="0" presId="urn:microsoft.com/office/officeart/2005/8/layout/orgChart1"/>
    <dgm:cxn modelId="{80F40695-D2FB-46B7-B6CE-BF50A5C11EB5}" type="presOf" srcId="{E449E611-151C-40B5-89E4-1D6462D35D1C}" destId="{39D6BE6C-2ADD-4EA4-8EA2-050CA0102470}" srcOrd="1" destOrd="0" presId="urn:microsoft.com/office/officeart/2005/8/layout/orgChart1"/>
    <dgm:cxn modelId="{D09259E9-14E0-451D-A807-F3C648489D24}" type="presOf" srcId="{4840A4A4-FFEF-481A-9A82-082F5D35DB54}" destId="{4482DC9B-4177-4E67-A2D4-E52EECF3692C}" srcOrd="1" destOrd="0" presId="urn:microsoft.com/office/officeart/2005/8/layout/orgChart1"/>
    <dgm:cxn modelId="{1EB7BBDC-8079-43D5-B439-C424E592B206}" type="presOf" srcId="{D1C86818-019E-4929-872E-C12A93842E97}" destId="{2379FFC9-89D4-4547-BC61-DACD52D1B71B}" srcOrd="1" destOrd="0" presId="urn:microsoft.com/office/officeart/2005/8/layout/orgChart1"/>
    <dgm:cxn modelId="{A8D3D907-E6EA-4210-A696-4497F8D129D2}" type="presOf" srcId="{A9D95B63-62F8-4ECF-9FC1-A27DF26CAB45}" destId="{68A03C29-C904-4B5F-B245-FE371F42DA2A}" srcOrd="0" destOrd="0" presId="urn:microsoft.com/office/officeart/2005/8/layout/orgChart1"/>
    <dgm:cxn modelId="{AD53E1EB-A10F-4A1E-A2DF-32F01C32B9DF}" type="presOf" srcId="{4840A4A4-FFEF-481A-9A82-082F5D35DB54}" destId="{EADB63DC-AE97-4FF1-B88B-F61277605997}" srcOrd="0" destOrd="0" presId="urn:microsoft.com/office/officeart/2005/8/layout/orgChart1"/>
    <dgm:cxn modelId="{C35D88CE-343E-427F-B209-D1E36F328177}" type="presOf" srcId="{BF1778F2-7250-4F90-8283-9C14A12453BA}" destId="{2A0B3AD2-70A8-4DAA-804A-78AC1CD56469}" srcOrd="1" destOrd="0" presId="urn:microsoft.com/office/officeart/2005/8/layout/orgChart1"/>
    <dgm:cxn modelId="{FFFDD1CF-F31D-40E2-AE16-8CAF89B2641A}" type="presOf" srcId="{120FEEF4-EF49-4919-8800-7804F01BA61F}" destId="{E16A8FD6-EBA2-425B-A78F-8EF5181173A9}" srcOrd="0" destOrd="0" presId="urn:microsoft.com/office/officeart/2005/8/layout/orgChart1"/>
    <dgm:cxn modelId="{AD6D01B1-A606-4854-A5D1-8B746EB841B7}" srcId="{44CAFA93-9FEF-4E5F-9642-88CD5E42F757}" destId="{4840A4A4-FFEF-481A-9A82-082F5D35DB54}" srcOrd="6" destOrd="0" parTransId="{79624082-191D-4F29-A5E8-F40DC044A2E7}" sibTransId="{7B6B5590-304F-477C-A77C-E33D2E5458CF}"/>
    <dgm:cxn modelId="{73A5C7C3-0B5B-4367-A191-4579DA846C32}" type="presOf" srcId="{D1C86818-019E-4929-872E-C12A93842E97}" destId="{947849E2-FCC1-4BAA-8346-67F8F63DDBD7}" srcOrd="0" destOrd="0" presId="urn:microsoft.com/office/officeart/2005/8/layout/orgChart1"/>
    <dgm:cxn modelId="{F386D96D-0406-4A6F-BFFE-A4F6207BD776}" type="presParOf" srcId="{5F26EB0B-98BB-4103-9CDD-BB9EE9D889B4}" destId="{533DC18B-149C-479F-8BC9-BD8D1195FA34}" srcOrd="0" destOrd="0" presId="urn:microsoft.com/office/officeart/2005/8/layout/orgChart1"/>
    <dgm:cxn modelId="{E8B0F3C9-A287-4027-A3FB-4B3A6887544B}" type="presParOf" srcId="{533DC18B-149C-479F-8BC9-BD8D1195FA34}" destId="{061A4E60-863E-4629-999C-8DC00B7E0AEA}" srcOrd="0" destOrd="0" presId="urn:microsoft.com/office/officeart/2005/8/layout/orgChart1"/>
    <dgm:cxn modelId="{4C89C825-8B73-4707-8239-3A1F29847682}" type="presParOf" srcId="{061A4E60-863E-4629-999C-8DC00B7E0AEA}" destId="{E54AF0DD-8C8D-4068-8B21-DB050E42C239}" srcOrd="0" destOrd="0" presId="urn:microsoft.com/office/officeart/2005/8/layout/orgChart1"/>
    <dgm:cxn modelId="{4327FE35-EBE1-439B-B6F6-FA5594026B68}" type="presParOf" srcId="{061A4E60-863E-4629-999C-8DC00B7E0AEA}" destId="{F2621643-E79A-40DA-8614-1D0BF563D304}" srcOrd="1" destOrd="0" presId="urn:microsoft.com/office/officeart/2005/8/layout/orgChart1"/>
    <dgm:cxn modelId="{4644D9DF-E32D-429F-9DE6-87AFF3A89D4E}" type="presParOf" srcId="{533DC18B-149C-479F-8BC9-BD8D1195FA34}" destId="{85AD64D0-ECB6-4F39-8C3B-8480DD644C4A}" srcOrd="1" destOrd="0" presId="urn:microsoft.com/office/officeart/2005/8/layout/orgChart1"/>
    <dgm:cxn modelId="{284A3675-FEB1-4D84-B8B1-E158E0A4CB68}" type="presParOf" srcId="{85AD64D0-ECB6-4F39-8C3B-8480DD644C4A}" destId="{E16A8FD6-EBA2-425B-A78F-8EF5181173A9}" srcOrd="0" destOrd="0" presId="urn:microsoft.com/office/officeart/2005/8/layout/orgChart1"/>
    <dgm:cxn modelId="{39DE6CE9-2F36-40B9-BF76-5BE44AC6A252}" type="presParOf" srcId="{85AD64D0-ECB6-4F39-8C3B-8480DD644C4A}" destId="{40973984-67C0-429D-81CE-3F53BAAF3C05}" srcOrd="1" destOrd="0" presId="urn:microsoft.com/office/officeart/2005/8/layout/orgChart1"/>
    <dgm:cxn modelId="{188E42D6-D511-4A68-B046-5C4A484F092F}" type="presParOf" srcId="{40973984-67C0-429D-81CE-3F53BAAF3C05}" destId="{C0B54FC1-B082-4480-8751-5D2851D10905}" srcOrd="0" destOrd="0" presId="urn:microsoft.com/office/officeart/2005/8/layout/orgChart1"/>
    <dgm:cxn modelId="{82E1C75F-5C63-4842-A3A6-EC07AEC9627A}" type="presParOf" srcId="{C0B54FC1-B082-4480-8751-5D2851D10905}" destId="{52F3F4D1-2C17-40A3-BB38-4103BC39E648}" srcOrd="0" destOrd="0" presId="urn:microsoft.com/office/officeart/2005/8/layout/orgChart1"/>
    <dgm:cxn modelId="{CCB63D5E-7262-435A-8D19-65DF01E453BE}" type="presParOf" srcId="{C0B54FC1-B082-4480-8751-5D2851D10905}" destId="{39D6BE6C-2ADD-4EA4-8EA2-050CA0102470}" srcOrd="1" destOrd="0" presId="urn:microsoft.com/office/officeart/2005/8/layout/orgChart1"/>
    <dgm:cxn modelId="{D2809FF7-AC85-4CB2-B784-CA73712ECAD0}" type="presParOf" srcId="{40973984-67C0-429D-81CE-3F53BAAF3C05}" destId="{7BE2B0FF-0403-42FA-A1B3-FC26F8BFD787}" srcOrd="1" destOrd="0" presId="urn:microsoft.com/office/officeart/2005/8/layout/orgChart1"/>
    <dgm:cxn modelId="{BAD3188A-A1AE-45D7-84AD-10F11ECD1562}" type="presParOf" srcId="{40973984-67C0-429D-81CE-3F53BAAF3C05}" destId="{FD16C55E-5C0E-4850-B281-B2C969F7292A}" srcOrd="2" destOrd="0" presId="urn:microsoft.com/office/officeart/2005/8/layout/orgChart1"/>
    <dgm:cxn modelId="{F0A15FF6-E2E9-499D-ACB3-D5C53905BB29}" type="presParOf" srcId="{85AD64D0-ECB6-4F39-8C3B-8480DD644C4A}" destId="{41CFCF0A-25A5-4503-BB89-4781CE01F0E7}" srcOrd="2" destOrd="0" presId="urn:microsoft.com/office/officeart/2005/8/layout/orgChart1"/>
    <dgm:cxn modelId="{8178FF84-57DE-43D0-9F2D-E0D7B705DFBB}" type="presParOf" srcId="{85AD64D0-ECB6-4F39-8C3B-8480DD644C4A}" destId="{05CB6007-43C4-409F-8B56-09AE80C99114}" srcOrd="3" destOrd="0" presId="urn:microsoft.com/office/officeart/2005/8/layout/orgChart1"/>
    <dgm:cxn modelId="{3EF3FE1C-92E9-4310-A227-644066B1A785}" type="presParOf" srcId="{05CB6007-43C4-409F-8B56-09AE80C99114}" destId="{26C86D9B-92AC-4603-AAB5-A74B1DE87B5D}" srcOrd="0" destOrd="0" presId="urn:microsoft.com/office/officeart/2005/8/layout/orgChart1"/>
    <dgm:cxn modelId="{2EB7756B-13C4-4F9D-8EE1-D2D2ACB23004}" type="presParOf" srcId="{26C86D9B-92AC-4603-AAB5-A74B1DE87B5D}" destId="{C5F933B0-21BA-4861-971A-95BD08C6E080}" srcOrd="0" destOrd="0" presId="urn:microsoft.com/office/officeart/2005/8/layout/orgChart1"/>
    <dgm:cxn modelId="{D96AF5F9-6B37-4B6B-8DA6-E87061F8D440}" type="presParOf" srcId="{26C86D9B-92AC-4603-AAB5-A74B1DE87B5D}" destId="{7AEABE99-3852-4A60-BD5A-9EF670C75D8B}" srcOrd="1" destOrd="0" presId="urn:microsoft.com/office/officeart/2005/8/layout/orgChart1"/>
    <dgm:cxn modelId="{27D5EAD8-27DC-404B-82BB-FEB8D8E4EE45}" type="presParOf" srcId="{05CB6007-43C4-409F-8B56-09AE80C99114}" destId="{A758E4B0-79C0-4F7E-BB37-36562924255A}" srcOrd="1" destOrd="0" presId="urn:microsoft.com/office/officeart/2005/8/layout/orgChart1"/>
    <dgm:cxn modelId="{A73F258C-9D8A-4004-8571-403E00ED7DD8}" type="presParOf" srcId="{05CB6007-43C4-409F-8B56-09AE80C99114}" destId="{11DC3FC7-82D4-428D-AF07-2D7BA31645A1}" srcOrd="2" destOrd="0" presId="urn:microsoft.com/office/officeart/2005/8/layout/orgChart1"/>
    <dgm:cxn modelId="{848A9673-7327-443C-888A-E3AE9643627A}" type="presParOf" srcId="{85AD64D0-ECB6-4F39-8C3B-8480DD644C4A}" destId="{23D78961-646E-4D49-9A0F-C068D6B67498}" srcOrd="4" destOrd="0" presId="urn:microsoft.com/office/officeart/2005/8/layout/orgChart1"/>
    <dgm:cxn modelId="{EC73E76E-C227-45FC-8F63-60C36583B806}" type="presParOf" srcId="{85AD64D0-ECB6-4F39-8C3B-8480DD644C4A}" destId="{3518C9B9-FA23-4F93-BC53-5E07AB30F02F}" srcOrd="5" destOrd="0" presId="urn:microsoft.com/office/officeart/2005/8/layout/orgChart1"/>
    <dgm:cxn modelId="{2AC66229-AB73-423D-8671-2B812BD6A9D5}" type="presParOf" srcId="{3518C9B9-FA23-4F93-BC53-5E07AB30F02F}" destId="{40248DB1-4BD7-437F-8788-137F48779D0D}" srcOrd="0" destOrd="0" presId="urn:microsoft.com/office/officeart/2005/8/layout/orgChart1"/>
    <dgm:cxn modelId="{5F8B18C6-6D5D-480D-811D-52B4639F57B3}" type="presParOf" srcId="{40248DB1-4BD7-437F-8788-137F48779D0D}" destId="{90661963-D149-4BC7-BB94-6837BE3D5342}" srcOrd="0" destOrd="0" presId="urn:microsoft.com/office/officeart/2005/8/layout/orgChart1"/>
    <dgm:cxn modelId="{8E7FA987-C274-4C92-9057-EC71AB82DCA7}" type="presParOf" srcId="{40248DB1-4BD7-437F-8788-137F48779D0D}" destId="{ECEEBFE9-4AFE-4870-8E26-D944E8B46015}" srcOrd="1" destOrd="0" presId="urn:microsoft.com/office/officeart/2005/8/layout/orgChart1"/>
    <dgm:cxn modelId="{99886216-665D-44F6-9DA0-6BB72267D15B}" type="presParOf" srcId="{3518C9B9-FA23-4F93-BC53-5E07AB30F02F}" destId="{60F99D95-E6CE-4E70-9765-96C70710B7B3}" srcOrd="1" destOrd="0" presId="urn:microsoft.com/office/officeart/2005/8/layout/orgChart1"/>
    <dgm:cxn modelId="{FB072EE6-419B-458C-9EAB-7867645325C4}" type="presParOf" srcId="{3518C9B9-FA23-4F93-BC53-5E07AB30F02F}" destId="{FBFEE448-91B8-4DE7-A2DC-0C6E46D0854F}" srcOrd="2" destOrd="0" presId="urn:microsoft.com/office/officeart/2005/8/layout/orgChart1"/>
    <dgm:cxn modelId="{313C3319-3939-473E-BD37-B21C54CCF568}" type="presParOf" srcId="{85AD64D0-ECB6-4F39-8C3B-8480DD644C4A}" destId="{31C9B838-5252-493F-8210-59FA71DCA6E2}" srcOrd="6" destOrd="0" presId="urn:microsoft.com/office/officeart/2005/8/layout/orgChart1"/>
    <dgm:cxn modelId="{2DB84E98-3A24-4E55-AF90-778BBF897336}" type="presParOf" srcId="{85AD64D0-ECB6-4F39-8C3B-8480DD644C4A}" destId="{996EFFB0-9BBE-4AD0-B591-9843F24D5B19}" srcOrd="7" destOrd="0" presId="urn:microsoft.com/office/officeart/2005/8/layout/orgChart1"/>
    <dgm:cxn modelId="{C9946E17-26E5-4B5A-B321-CD1D8E99F30B}" type="presParOf" srcId="{996EFFB0-9BBE-4AD0-B591-9843F24D5B19}" destId="{317F5EE7-9701-4334-B5C7-06A8D83B01ED}" srcOrd="0" destOrd="0" presId="urn:microsoft.com/office/officeart/2005/8/layout/orgChart1"/>
    <dgm:cxn modelId="{285F4BF6-2DF4-43B1-A4FA-2B095C125520}" type="presParOf" srcId="{317F5EE7-9701-4334-B5C7-06A8D83B01ED}" destId="{947849E2-FCC1-4BAA-8346-67F8F63DDBD7}" srcOrd="0" destOrd="0" presId="urn:microsoft.com/office/officeart/2005/8/layout/orgChart1"/>
    <dgm:cxn modelId="{91CE2B17-34AB-4D6B-9CB3-401632563E9A}" type="presParOf" srcId="{317F5EE7-9701-4334-B5C7-06A8D83B01ED}" destId="{2379FFC9-89D4-4547-BC61-DACD52D1B71B}" srcOrd="1" destOrd="0" presId="urn:microsoft.com/office/officeart/2005/8/layout/orgChart1"/>
    <dgm:cxn modelId="{C9B96234-1774-44E7-8B3E-E0793633508B}" type="presParOf" srcId="{996EFFB0-9BBE-4AD0-B591-9843F24D5B19}" destId="{39D8BA17-B763-48C9-BA50-813E1EE8D1E0}" srcOrd="1" destOrd="0" presId="urn:microsoft.com/office/officeart/2005/8/layout/orgChart1"/>
    <dgm:cxn modelId="{930776AA-9711-440E-9959-8D09F66C826B}" type="presParOf" srcId="{996EFFB0-9BBE-4AD0-B591-9843F24D5B19}" destId="{C9FA0E5D-B4C8-4754-96F4-1302B9FE0209}" srcOrd="2" destOrd="0" presId="urn:microsoft.com/office/officeart/2005/8/layout/orgChart1"/>
    <dgm:cxn modelId="{BF067419-2BE4-4E52-90C6-32A1CD5DE9AD}" type="presParOf" srcId="{85AD64D0-ECB6-4F39-8C3B-8480DD644C4A}" destId="{DA11D309-1092-4AE0-8E1A-D5BAE19DCA8A}" srcOrd="8" destOrd="0" presId="urn:microsoft.com/office/officeart/2005/8/layout/orgChart1"/>
    <dgm:cxn modelId="{2FE1EAC8-533B-4FBC-8F1C-7E150DEFF8A2}" type="presParOf" srcId="{85AD64D0-ECB6-4F39-8C3B-8480DD644C4A}" destId="{3CC22EC9-01FF-4F17-B99B-8A9A7F434FF1}" srcOrd="9" destOrd="0" presId="urn:microsoft.com/office/officeart/2005/8/layout/orgChart1"/>
    <dgm:cxn modelId="{D45266CA-D6A9-4B4A-BC85-5A1D697BAA06}" type="presParOf" srcId="{3CC22EC9-01FF-4F17-B99B-8A9A7F434FF1}" destId="{5FB984FA-E956-45E6-99CF-A05312CF9FDD}" srcOrd="0" destOrd="0" presId="urn:microsoft.com/office/officeart/2005/8/layout/orgChart1"/>
    <dgm:cxn modelId="{F0914432-9967-42C4-B3DC-A07541B5D144}" type="presParOf" srcId="{5FB984FA-E956-45E6-99CF-A05312CF9FDD}" destId="{68A03C29-C904-4B5F-B245-FE371F42DA2A}" srcOrd="0" destOrd="0" presId="urn:microsoft.com/office/officeart/2005/8/layout/orgChart1"/>
    <dgm:cxn modelId="{4312C292-08B9-4FF4-BD47-A0B529519DDB}" type="presParOf" srcId="{5FB984FA-E956-45E6-99CF-A05312CF9FDD}" destId="{6EFD78ED-EB5D-4649-AE32-1129768CFA83}" srcOrd="1" destOrd="0" presId="urn:microsoft.com/office/officeart/2005/8/layout/orgChart1"/>
    <dgm:cxn modelId="{B5B756C9-30F2-4981-B665-4F5BD45A574A}" type="presParOf" srcId="{3CC22EC9-01FF-4F17-B99B-8A9A7F434FF1}" destId="{1BF35FAA-B363-47B6-9123-BBDD1195EE4D}" srcOrd="1" destOrd="0" presId="urn:microsoft.com/office/officeart/2005/8/layout/orgChart1"/>
    <dgm:cxn modelId="{FD74DD19-401E-49E6-95A7-263B41AACEEA}" type="presParOf" srcId="{3CC22EC9-01FF-4F17-B99B-8A9A7F434FF1}" destId="{4593BB1B-C6BF-4D27-BB2F-D2D5A25D5CF5}" srcOrd="2" destOrd="0" presId="urn:microsoft.com/office/officeart/2005/8/layout/orgChart1"/>
    <dgm:cxn modelId="{615549DA-E1BA-417F-8A58-CA663334E545}" type="presParOf" srcId="{85AD64D0-ECB6-4F39-8C3B-8480DD644C4A}" destId="{9E1206AB-004E-40EA-8ED8-52264F7B664B}" srcOrd="10" destOrd="0" presId="urn:microsoft.com/office/officeart/2005/8/layout/orgChart1"/>
    <dgm:cxn modelId="{9759B1C4-0105-4679-9922-A492FC38BF4C}" type="presParOf" srcId="{85AD64D0-ECB6-4F39-8C3B-8480DD644C4A}" destId="{260F42A5-3865-44ED-AA4F-68A0860DA274}" srcOrd="11" destOrd="0" presId="urn:microsoft.com/office/officeart/2005/8/layout/orgChart1"/>
    <dgm:cxn modelId="{667AD54F-773A-41F9-93B1-0E93D6492474}" type="presParOf" srcId="{260F42A5-3865-44ED-AA4F-68A0860DA274}" destId="{19D0BAAA-0266-4C15-AE84-C4E1CAAB50A0}" srcOrd="0" destOrd="0" presId="urn:microsoft.com/office/officeart/2005/8/layout/orgChart1"/>
    <dgm:cxn modelId="{172009C5-1202-462B-8B35-6ED6398B5C0E}" type="presParOf" srcId="{19D0BAAA-0266-4C15-AE84-C4E1CAAB50A0}" destId="{883BFE8A-0CA4-4A2D-BAEC-908118206845}" srcOrd="0" destOrd="0" presId="urn:microsoft.com/office/officeart/2005/8/layout/orgChart1"/>
    <dgm:cxn modelId="{97E4E04F-498C-4B94-8E34-DF680B8DFEB1}" type="presParOf" srcId="{19D0BAAA-0266-4C15-AE84-C4E1CAAB50A0}" destId="{2A0B3AD2-70A8-4DAA-804A-78AC1CD56469}" srcOrd="1" destOrd="0" presId="urn:microsoft.com/office/officeart/2005/8/layout/orgChart1"/>
    <dgm:cxn modelId="{5C9F32C6-C397-4F33-8146-283E15EB1D2E}" type="presParOf" srcId="{260F42A5-3865-44ED-AA4F-68A0860DA274}" destId="{608EA5D5-9F34-4FF2-AB06-332C09876955}" srcOrd="1" destOrd="0" presId="urn:microsoft.com/office/officeart/2005/8/layout/orgChart1"/>
    <dgm:cxn modelId="{D7F2E515-0E10-4A6A-A80B-2B2B25F43CB2}" type="presParOf" srcId="{260F42A5-3865-44ED-AA4F-68A0860DA274}" destId="{70F21E52-F07F-4279-B246-05FD4DFC3CA0}" srcOrd="2" destOrd="0" presId="urn:microsoft.com/office/officeart/2005/8/layout/orgChart1"/>
    <dgm:cxn modelId="{9A17A3A1-6270-4DF3-91E4-6DE111F80954}" type="presParOf" srcId="{85AD64D0-ECB6-4F39-8C3B-8480DD644C4A}" destId="{ABEC1C4A-0695-408A-B593-0938A1E283F2}" srcOrd="12" destOrd="0" presId="urn:microsoft.com/office/officeart/2005/8/layout/orgChart1"/>
    <dgm:cxn modelId="{E5996993-F559-4074-BF71-36E34C019D24}" type="presParOf" srcId="{85AD64D0-ECB6-4F39-8C3B-8480DD644C4A}" destId="{232FCBD2-5D40-41E4-9EE7-3AFD6EF8F0A8}" srcOrd="13" destOrd="0" presId="urn:microsoft.com/office/officeart/2005/8/layout/orgChart1"/>
    <dgm:cxn modelId="{86A78B73-007B-4A56-9513-DDEBAF18D12B}" type="presParOf" srcId="{232FCBD2-5D40-41E4-9EE7-3AFD6EF8F0A8}" destId="{F8246479-F910-40D5-8B9F-5B9F933068A4}" srcOrd="0" destOrd="0" presId="urn:microsoft.com/office/officeart/2005/8/layout/orgChart1"/>
    <dgm:cxn modelId="{52DECA41-5FD4-4364-84E9-7C529FD4B734}" type="presParOf" srcId="{F8246479-F910-40D5-8B9F-5B9F933068A4}" destId="{EADB63DC-AE97-4FF1-B88B-F61277605997}" srcOrd="0" destOrd="0" presId="urn:microsoft.com/office/officeart/2005/8/layout/orgChart1"/>
    <dgm:cxn modelId="{0D35BA70-1C12-4656-A56B-3BD6CFB2CF17}" type="presParOf" srcId="{F8246479-F910-40D5-8B9F-5B9F933068A4}" destId="{4482DC9B-4177-4E67-A2D4-E52EECF3692C}" srcOrd="1" destOrd="0" presId="urn:microsoft.com/office/officeart/2005/8/layout/orgChart1"/>
    <dgm:cxn modelId="{702171B8-7C53-4558-8740-BD843ED314DD}" type="presParOf" srcId="{232FCBD2-5D40-41E4-9EE7-3AFD6EF8F0A8}" destId="{AA62C22D-E768-4E56-BD12-2EF92A4523D7}" srcOrd="1" destOrd="0" presId="urn:microsoft.com/office/officeart/2005/8/layout/orgChart1"/>
    <dgm:cxn modelId="{B8337FD0-8686-422F-AD70-B3AC8D36DCDC}" type="presParOf" srcId="{232FCBD2-5D40-41E4-9EE7-3AFD6EF8F0A8}" destId="{DA6E298B-5433-486C-A0D7-076511949EF1}" srcOrd="2" destOrd="0" presId="urn:microsoft.com/office/officeart/2005/8/layout/orgChart1"/>
    <dgm:cxn modelId="{1CD50FDC-911F-4445-B653-CAFA44C076DC}" type="presParOf" srcId="{533DC18B-149C-479F-8BC9-BD8D1195FA34}" destId="{AD3D7CFE-165A-4845-9F2D-9C7F5245D73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F60CA96-D885-45EE-80C3-2C77DB62E79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CAFA93-9FEF-4E5F-9642-88CD5E42F757}">
      <dgm:prSet phldrT="[Text]" custT="1"/>
      <dgm:spPr/>
      <dgm:t>
        <a:bodyPr/>
        <a:lstStyle/>
        <a:p>
          <a:r>
            <a:rPr lang="en-US" sz="1400" dirty="0" smtClean="0"/>
            <a:t>CDO</a:t>
          </a:r>
          <a:br>
            <a:rPr lang="en-US" sz="1400" dirty="0" smtClean="0"/>
          </a:br>
          <a:r>
            <a:rPr lang="en-US" sz="1200" dirty="0" err="1" smtClean="0"/>
            <a:t>Gerson</a:t>
          </a:r>
          <a:r>
            <a:rPr lang="en-US" sz="1200" dirty="0" smtClean="0"/>
            <a:t> </a:t>
          </a:r>
          <a:r>
            <a:rPr lang="en-US" sz="1200" dirty="0" err="1" smtClean="0"/>
            <a:t>Souto</a:t>
          </a:r>
          <a:endParaRPr lang="en-US" sz="1200" dirty="0"/>
        </a:p>
      </dgm:t>
    </dgm:pt>
    <dgm:pt modelId="{FF93D7E9-E276-4010-86B8-CA35EB566BB4}" type="parTrans" cxnId="{1D71BB0B-44EE-475C-B591-803583BD9134}">
      <dgm:prSet/>
      <dgm:spPr/>
      <dgm:t>
        <a:bodyPr/>
        <a:lstStyle/>
        <a:p>
          <a:endParaRPr lang="en-US"/>
        </a:p>
      </dgm:t>
    </dgm:pt>
    <dgm:pt modelId="{4BFAFDC5-09AB-4B7B-8CD5-0FC56849D49C}" type="sibTrans" cxnId="{1D71BB0B-44EE-475C-B591-803583BD9134}">
      <dgm:prSet/>
      <dgm:spPr/>
      <dgm:t>
        <a:bodyPr/>
        <a:lstStyle/>
        <a:p>
          <a:endParaRPr lang="en-US"/>
        </a:p>
      </dgm:t>
    </dgm:pt>
    <dgm:pt modelId="{E449E611-151C-40B5-89E4-1D6462D35D1C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Corporate Development</a:t>
          </a:r>
          <a:br>
            <a:rPr lang="en-US" sz="12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>Christophe de </a:t>
          </a:r>
          <a:r>
            <a:rPr lang="en-US" sz="1000" dirty="0" err="1" smtClean="0"/>
            <a:t>Hauwer</a:t>
          </a:r>
          <a:endParaRPr lang="en-US" sz="1000" dirty="0"/>
        </a:p>
      </dgm:t>
    </dgm:pt>
    <dgm:pt modelId="{120FEEF4-EF49-4919-8800-7804F01BA61F}" type="parTrans" cxnId="{BD2F723D-4ED5-44C2-8858-A277C32BFE2B}">
      <dgm:prSet/>
      <dgm:spPr/>
      <dgm:t>
        <a:bodyPr/>
        <a:lstStyle/>
        <a:p>
          <a:endParaRPr lang="en-US"/>
        </a:p>
      </dgm:t>
    </dgm:pt>
    <dgm:pt modelId="{9829A6F7-A208-468E-810D-E34FE052FD9F}" type="sibTrans" cxnId="{BD2F723D-4ED5-44C2-8858-A277C32BFE2B}">
      <dgm:prSet/>
      <dgm:spPr/>
      <dgm:t>
        <a:bodyPr/>
        <a:lstStyle/>
        <a:p>
          <a:endParaRPr lang="en-US"/>
        </a:p>
      </dgm:t>
    </dgm:pt>
    <dgm:pt modelId="{D1C86818-019E-4929-872E-C12A93842E97}">
      <dgm:prSet phldrT="[Text]" custT="1"/>
      <dgm:spPr/>
      <dgm:t>
        <a:bodyPr/>
        <a:lstStyle/>
        <a:p>
          <a:r>
            <a:rPr lang="en-US" sz="1200" dirty="0" smtClean="0"/>
            <a:t>Fleet Development </a:t>
          </a:r>
          <a:br>
            <a:rPr lang="en-US" sz="1200" dirty="0" smtClean="0"/>
          </a:br>
          <a:r>
            <a:rPr lang="en-US" sz="1200" dirty="0" smtClean="0"/>
            <a:t>&amp; </a:t>
          </a:r>
          <a:br>
            <a:rPr lang="en-US" sz="1200" dirty="0" smtClean="0"/>
          </a:br>
          <a:r>
            <a:rPr lang="en-US" sz="1200" dirty="0" smtClean="0"/>
            <a:t>Yield Management</a:t>
          </a:r>
          <a:br>
            <a:rPr lang="en-US" sz="1200" dirty="0" smtClean="0"/>
          </a:br>
          <a:r>
            <a:rPr lang="en-US" sz="1200" dirty="0" smtClean="0"/>
            <a:t/>
          </a:r>
          <a:br>
            <a:rPr lang="en-US" sz="1200" dirty="0" smtClean="0"/>
          </a:br>
          <a:r>
            <a:rPr lang="en-US" sz="1000" dirty="0" smtClean="0"/>
            <a:t>Nicolas </a:t>
          </a:r>
          <a:r>
            <a:rPr lang="en-US" sz="1000" dirty="0" err="1" smtClean="0"/>
            <a:t>Boudier</a:t>
          </a:r>
          <a:endParaRPr lang="en-US" sz="1000" dirty="0"/>
        </a:p>
      </dgm:t>
    </dgm:pt>
    <dgm:pt modelId="{FE9366EE-10CE-4699-AC22-81D81C326295}" type="parTrans" cxnId="{665FCDDF-95B8-49D8-91AC-0E54EA10B978}">
      <dgm:prSet/>
      <dgm:spPr/>
      <dgm:t>
        <a:bodyPr/>
        <a:lstStyle/>
        <a:p>
          <a:endParaRPr lang="en-US"/>
        </a:p>
      </dgm:t>
    </dgm:pt>
    <dgm:pt modelId="{C1D7264C-AE20-4BAE-ABCD-8F2692AE7DDF}" type="sibTrans" cxnId="{665FCDDF-95B8-49D8-91AC-0E54EA10B978}">
      <dgm:prSet/>
      <dgm:spPr/>
      <dgm:t>
        <a:bodyPr/>
        <a:lstStyle/>
        <a:p>
          <a:endParaRPr lang="en-US"/>
        </a:p>
      </dgm:t>
    </dgm:pt>
    <dgm:pt modelId="{A9D95B63-62F8-4ECF-9FC1-A27DF26CAB45}">
      <dgm:prSet phldrT="[Text]" custT="1"/>
      <dgm:spPr/>
      <dgm:t>
        <a:bodyPr/>
        <a:lstStyle/>
        <a:p>
          <a:r>
            <a:rPr lang="en-US" sz="1200" dirty="0" smtClean="0"/>
            <a:t>Regional Business Development Americas</a:t>
          </a:r>
        </a:p>
        <a:p>
          <a:r>
            <a:rPr lang="en-US" sz="1200" dirty="0" smtClean="0"/>
            <a:t/>
          </a:r>
          <a:br>
            <a:rPr lang="en-US" sz="1200" dirty="0" smtClean="0"/>
          </a:br>
          <a:r>
            <a:rPr lang="en-US" sz="1000" dirty="0" err="1" smtClean="0"/>
            <a:t>Sergy</a:t>
          </a:r>
          <a:r>
            <a:rPr lang="en-US" sz="1000" dirty="0" smtClean="0"/>
            <a:t> </a:t>
          </a:r>
          <a:r>
            <a:rPr lang="en-US" sz="1000" dirty="0" err="1" smtClean="0"/>
            <a:t>Mummert</a:t>
          </a:r>
          <a:endParaRPr lang="en-US" sz="1200" dirty="0"/>
        </a:p>
      </dgm:t>
    </dgm:pt>
    <dgm:pt modelId="{A5EABCF3-BBA8-4FAC-A75D-1589A1F787B0}" type="parTrans" cxnId="{003D7B92-B86D-4BAE-A10E-BCFF0E04D219}">
      <dgm:prSet/>
      <dgm:spPr/>
      <dgm:t>
        <a:bodyPr/>
        <a:lstStyle/>
        <a:p>
          <a:endParaRPr lang="en-US"/>
        </a:p>
      </dgm:t>
    </dgm:pt>
    <dgm:pt modelId="{850DDB73-8537-4D13-9081-A91FB33C270C}" type="sibTrans" cxnId="{003D7B92-B86D-4BAE-A10E-BCFF0E04D219}">
      <dgm:prSet/>
      <dgm:spPr/>
      <dgm:t>
        <a:bodyPr/>
        <a:lstStyle/>
        <a:p>
          <a:endParaRPr lang="en-US"/>
        </a:p>
      </dgm:t>
    </dgm:pt>
    <dgm:pt modelId="{BF1778F2-7250-4F90-8283-9C14A12453BA}">
      <dgm:prSet phldrT="[Text]" custT="1"/>
      <dgm:spPr/>
      <dgm:t>
        <a:bodyPr/>
        <a:lstStyle/>
        <a:p>
          <a:r>
            <a:rPr lang="en-US" sz="1200" dirty="0" smtClean="0"/>
            <a:t>Regional Business Development EMEA</a:t>
          </a:r>
        </a:p>
        <a:p>
          <a:endParaRPr lang="en-US" sz="1200" dirty="0" smtClean="0"/>
        </a:p>
        <a:p>
          <a:r>
            <a:rPr lang="en-US" sz="1000" dirty="0" smtClean="0"/>
            <a:t>Daniel </a:t>
          </a:r>
          <a:r>
            <a:rPr lang="en-US" sz="1000" dirty="0" err="1" smtClean="0"/>
            <a:t>Biedermann</a:t>
          </a:r>
          <a:endParaRPr lang="en-US" sz="1000" dirty="0"/>
        </a:p>
      </dgm:t>
    </dgm:pt>
    <dgm:pt modelId="{813C61E0-D61B-4AAE-B6F4-F72B63D42E9A}" type="parTrans" cxnId="{7DE84BA7-D375-4835-8409-3671AA151396}">
      <dgm:prSet/>
      <dgm:spPr/>
      <dgm:t>
        <a:bodyPr/>
        <a:lstStyle/>
        <a:p>
          <a:endParaRPr lang="en-US"/>
        </a:p>
      </dgm:t>
    </dgm:pt>
    <dgm:pt modelId="{1CFC59FC-002F-4354-B2EE-59885CD9FDAE}" type="sibTrans" cxnId="{7DE84BA7-D375-4835-8409-3671AA151396}">
      <dgm:prSet/>
      <dgm:spPr/>
      <dgm:t>
        <a:bodyPr/>
        <a:lstStyle/>
        <a:p>
          <a:endParaRPr lang="en-US"/>
        </a:p>
      </dgm:t>
    </dgm:pt>
    <dgm:pt modelId="{4840A4A4-FFEF-481A-9A82-082F5D35DB54}">
      <dgm:prSet phldrT="[Text]" custT="1"/>
      <dgm:spPr/>
      <dgm:t>
        <a:bodyPr/>
        <a:lstStyle/>
        <a:p>
          <a:r>
            <a:rPr lang="en-US" sz="1200" dirty="0" smtClean="0"/>
            <a:t>Regional Business Development Asia Pacific</a:t>
          </a:r>
          <a:br>
            <a:rPr lang="en-US" sz="1200" dirty="0" smtClean="0"/>
          </a:br>
          <a:r>
            <a:rPr lang="en-US" sz="1200" dirty="0" smtClean="0"/>
            <a:t/>
          </a:r>
          <a:br>
            <a:rPr lang="en-US" sz="1200" dirty="0" smtClean="0"/>
          </a:br>
          <a:r>
            <a:rPr lang="en-GB" sz="1000" i="1" dirty="0" smtClean="0"/>
            <a:t>Acting: </a:t>
          </a:r>
          <a:r>
            <a:rPr lang="en-GB" sz="1000" i="1" dirty="0" err="1" smtClean="0"/>
            <a:t>Gerson</a:t>
          </a:r>
          <a:r>
            <a:rPr lang="en-GB" sz="1000" i="1" dirty="0" smtClean="0"/>
            <a:t> </a:t>
          </a:r>
          <a:r>
            <a:rPr lang="en-GB" sz="1000" i="1" dirty="0" err="1" smtClean="0"/>
            <a:t>Souto</a:t>
          </a:r>
          <a:endParaRPr lang="en-US" sz="1000" dirty="0"/>
        </a:p>
      </dgm:t>
    </dgm:pt>
    <dgm:pt modelId="{79624082-191D-4F29-A5E8-F40DC044A2E7}" type="parTrans" cxnId="{AD6D01B1-A606-4854-A5D1-8B746EB841B7}">
      <dgm:prSet/>
      <dgm:spPr/>
      <dgm:t>
        <a:bodyPr/>
        <a:lstStyle/>
        <a:p>
          <a:endParaRPr lang="en-US"/>
        </a:p>
      </dgm:t>
    </dgm:pt>
    <dgm:pt modelId="{7B6B5590-304F-477C-A77C-E33D2E5458CF}" type="sibTrans" cxnId="{AD6D01B1-A606-4854-A5D1-8B746EB841B7}">
      <dgm:prSet/>
      <dgm:spPr/>
      <dgm:t>
        <a:bodyPr/>
        <a:lstStyle/>
        <a:p>
          <a:endParaRPr lang="en-US"/>
        </a:p>
      </dgm:t>
    </dgm:pt>
    <dgm:pt modelId="{67B6AB9F-B20E-4146-8633-6004D6145D7B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Spectrum Management</a:t>
          </a:r>
          <a:br>
            <a:rPr lang="en-US" sz="1200" dirty="0" smtClean="0"/>
          </a:br>
          <a:r>
            <a:rPr lang="en-US" sz="1200" dirty="0" smtClean="0"/>
            <a:t>&amp; Development</a:t>
          </a:r>
          <a:br>
            <a:rPr lang="en-US" sz="1200" dirty="0" smtClean="0"/>
          </a:br>
          <a:r>
            <a:rPr lang="en-US" sz="1200" dirty="0" smtClean="0"/>
            <a:t/>
          </a:r>
          <a:br>
            <a:rPr lang="en-US" sz="1200" dirty="0" smtClean="0"/>
          </a:br>
          <a:r>
            <a:rPr lang="en-US" sz="1000" dirty="0" smtClean="0"/>
            <a:t>Eric </a:t>
          </a:r>
          <a:r>
            <a:rPr lang="en-US" sz="1000" dirty="0" err="1" smtClean="0"/>
            <a:t>Lamby</a:t>
          </a:r>
          <a:endParaRPr lang="en-US" sz="1000" dirty="0"/>
        </a:p>
      </dgm:t>
    </dgm:pt>
    <dgm:pt modelId="{F9C52E8B-AE4F-4B43-BC6A-F20417BBB2CF}" type="sibTrans" cxnId="{D47B4CB1-4A06-40F7-9640-94CD7DEA55F8}">
      <dgm:prSet/>
      <dgm:spPr/>
      <dgm:t>
        <a:bodyPr/>
        <a:lstStyle/>
        <a:p>
          <a:endParaRPr lang="en-US"/>
        </a:p>
      </dgm:t>
    </dgm:pt>
    <dgm:pt modelId="{1E320E83-014B-4EE3-8DEA-106DC855896F}" type="parTrans" cxnId="{D47B4CB1-4A06-40F7-9640-94CD7DEA55F8}">
      <dgm:prSet/>
      <dgm:spPr/>
      <dgm:t>
        <a:bodyPr/>
        <a:lstStyle/>
        <a:p>
          <a:endParaRPr lang="en-US"/>
        </a:p>
      </dgm:t>
    </dgm:pt>
    <dgm:pt modelId="{2BAE3789-029B-47C4-8216-74E6A8D57AEB}">
      <dgm:prSet phldrT="[Text]" custT="1"/>
      <dgm:spPr>
        <a:ln w="50800">
          <a:solidFill>
            <a:srgbClr val="B44682"/>
          </a:solidFill>
        </a:ln>
      </dgm:spPr>
      <dgm:t>
        <a:bodyPr/>
        <a:lstStyle/>
        <a:p>
          <a:r>
            <a:rPr lang="en-US" sz="1200" dirty="0" smtClean="0"/>
            <a:t>Government &amp; Institutions</a:t>
          </a:r>
        </a:p>
        <a:p>
          <a:endParaRPr lang="en-US" sz="1200" dirty="0" smtClean="0"/>
        </a:p>
        <a:p>
          <a:r>
            <a:rPr lang="en-US" sz="1000" dirty="0" smtClean="0"/>
            <a:t/>
          </a:r>
          <a:br>
            <a:rPr lang="en-US" sz="1000" dirty="0" smtClean="0"/>
          </a:br>
          <a:r>
            <a:rPr lang="en-US" sz="1000" dirty="0" smtClean="0"/>
            <a:t>Philippe </a:t>
          </a:r>
          <a:r>
            <a:rPr lang="en-US" sz="1000" dirty="0" err="1" smtClean="0"/>
            <a:t>Glaesener</a:t>
          </a:r>
          <a:endParaRPr lang="en-US" sz="1000" dirty="0"/>
        </a:p>
      </dgm:t>
    </dgm:pt>
    <dgm:pt modelId="{BBA14867-82F0-4258-9B9A-CDDC0C57EF23}" type="parTrans" cxnId="{7305765D-A426-4C5D-8110-68714A89AF03}">
      <dgm:prSet/>
      <dgm:spPr/>
      <dgm:t>
        <a:bodyPr/>
        <a:lstStyle/>
        <a:p>
          <a:endParaRPr lang="en-US"/>
        </a:p>
      </dgm:t>
    </dgm:pt>
    <dgm:pt modelId="{D69AFC46-F038-4791-9C17-8BA91F51EF47}" type="sibTrans" cxnId="{7305765D-A426-4C5D-8110-68714A89AF03}">
      <dgm:prSet/>
      <dgm:spPr/>
      <dgm:t>
        <a:bodyPr/>
        <a:lstStyle/>
        <a:p>
          <a:endParaRPr lang="en-US"/>
        </a:p>
      </dgm:t>
    </dgm:pt>
    <dgm:pt modelId="{5F26EB0B-98BB-4103-9CDD-BB9EE9D889B4}" type="pres">
      <dgm:prSet presAssocID="{EF60CA96-D885-45EE-80C3-2C77DB62E79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33DC18B-149C-479F-8BC9-BD8D1195FA34}" type="pres">
      <dgm:prSet presAssocID="{44CAFA93-9FEF-4E5F-9642-88CD5E42F757}" presName="hierRoot1" presStyleCnt="0">
        <dgm:presLayoutVars>
          <dgm:hierBranch val="init"/>
        </dgm:presLayoutVars>
      </dgm:prSet>
      <dgm:spPr/>
    </dgm:pt>
    <dgm:pt modelId="{061A4E60-863E-4629-999C-8DC00B7E0AEA}" type="pres">
      <dgm:prSet presAssocID="{44CAFA93-9FEF-4E5F-9642-88CD5E42F757}" presName="rootComposite1" presStyleCnt="0"/>
      <dgm:spPr/>
    </dgm:pt>
    <dgm:pt modelId="{E54AF0DD-8C8D-4068-8B21-DB050E42C239}" type="pres">
      <dgm:prSet presAssocID="{44CAFA93-9FEF-4E5F-9642-88CD5E42F757}" presName="rootText1" presStyleLbl="node0" presStyleIdx="0" presStyleCnt="1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621643-E79A-40DA-8614-1D0BF563D304}" type="pres">
      <dgm:prSet presAssocID="{44CAFA93-9FEF-4E5F-9642-88CD5E42F757}" presName="rootConnector1" presStyleLbl="node1" presStyleIdx="0" presStyleCnt="0"/>
      <dgm:spPr/>
      <dgm:t>
        <a:bodyPr/>
        <a:lstStyle/>
        <a:p>
          <a:endParaRPr lang="en-US"/>
        </a:p>
      </dgm:t>
    </dgm:pt>
    <dgm:pt modelId="{85AD64D0-ECB6-4F39-8C3B-8480DD644C4A}" type="pres">
      <dgm:prSet presAssocID="{44CAFA93-9FEF-4E5F-9642-88CD5E42F757}" presName="hierChild2" presStyleCnt="0"/>
      <dgm:spPr/>
    </dgm:pt>
    <dgm:pt modelId="{E16A8FD6-EBA2-425B-A78F-8EF5181173A9}" type="pres">
      <dgm:prSet presAssocID="{120FEEF4-EF49-4919-8800-7804F01BA61F}" presName="Name37" presStyleLbl="parChTrans1D2" presStyleIdx="0" presStyleCnt="7"/>
      <dgm:spPr/>
      <dgm:t>
        <a:bodyPr/>
        <a:lstStyle/>
        <a:p>
          <a:endParaRPr lang="en-US"/>
        </a:p>
      </dgm:t>
    </dgm:pt>
    <dgm:pt modelId="{40973984-67C0-429D-81CE-3F53BAAF3C05}" type="pres">
      <dgm:prSet presAssocID="{E449E611-151C-40B5-89E4-1D6462D35D1C}" presName="hierRoot2" presStyleCnt="0">
        <dgm:presLayoutVars>
          <dgm:hierBranch val="init"/>
        </dgm:presLayoutVars>
      </dgm:prSet>
      <dgm:spPr/>
    </dgm:pt>
    <dgm:pt modelId="{C0B54FC1-B082-4480-8751-5D2851D10905}" type="pres">
      <dgm:prSet presAssocID="{E449E611-151C-40B5-89E4-1D6462D35D1C}" presName="rootComposite" presStyleCnt="0"/>
      <dgm:spPr/>
    </dgm:pt>
    <dgm:pt modelId="{52F3F4D1-2C17-40A3-BB38-4103BC39E648}" type="pres">
      <dgm:prSet presAssocID="{E449E611-151C-40B5-89E4-1D6462D35D1C}" presName="rootText" presStyleLbl="node2" presStyleIdx="0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9D6BE6C-2ADD-4EA4-8EA2-050CA0102470}" type="pres">
      <dgm:prSet presAssocID="{E449E611-151C-40B5-89E4-1D6462D35D1C}" presName="rootConnector" presStyleLbl="node2" presStyleIdx="0" presStyleCnt="7"/>
      <dgm:spPr/>
      <dgm:t>
        <a:bodyPr/>
        <a:lstStyle/>
        <a:p>
          <a:endParaRPr lang="en-US"/>
        </a:p>
      </dgm:t>
    </dgm:pt>
    <dgm:pt modelId="{7BE2B0FF-0403-42FA-A1B3-FC26F8BFD787}" type="pres">
      <dgm:prSet presAssocID="{E449E611-151C-40B5-89E4-1D6462D35D1C}" presName="hierChild4" presStyleCnt="0"/>
      <dgm:spPr/>
    </dgm:pt>
    <dgm:pt modelId="{FD16C55E-5C0E-4850-B281-B2C969F7292A}" type="pres">
      <dgm:prSet presAssocID="{E449E611-151C-40B5-89E4-1D6462D35D1C}" presName="hierChild5" presStyleCnt="0"/>
      <dgm:spPr/>
    </dgm:pt>
    <dgm:pt modelId="{41CFCF0A-25A5-4503-BB89-4781CE01F0E7}" type="pres">
      <dgm:prSet presAssocID="{1E320E83-014B-4EE3-8DEA-106DC855896F}" presName="Name37" presStyleLbl="parChTrans1D2" presStyleIdx="1" presStyleCnt="7"/>
      <dgm:spPr/>
      <dgm:t>
        <a:bodyPr/>
        <a:lstStyle/>
        <a:p>
          <a:endParaRPr lang="en-US"/>
        </a:p>
      </dgm:t>
    </dgm:pt>
    <dgm:pt modelId="{05CB6007-43C4-409F-8B56-09AE80C99114}" type="pres">
      <dgm:prSet presAssocID="{67B6AB9F-B20E-4146-8633-6004D6145D7B}" presName="hierRoot2" presStyleCnt="0">
        <dgm:presLayoutVars>
          <dgm:hierBranch val="init"/>
        </dgm:presLayoutVars>
      </dgm:prSet>
      <dgm:spPr/>
    </dgm:pt>
    <dgm:pt modelId="{26C86D9B-92AC-4603-AAB5-A74B1DE87B5D}" type="pres">
      <dgm:prSet presAssocID="{67B6AB9F-B20E-4146-8633-6004D6145D7B}" presName="rootComposite" presStyleCnt="0"/>
      <dgm:spPr/>
    </dgm:pt>
    <dgm:pt modelId="{C5F933B0-21BA-4861-971A-95BD08C6E080}" type="pres">
      <dgm:prSet presAssocID="{67B6AB9F-B20E-4146-8633-6004D6145D7B}" presName="rootText" presStyleLbl="node2" presStyleIdx="1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AEABE99-3852-4A60-BD5A-9EF670C75D8B}" type="pres">
      <dgm:prSet presAssocID="{67B6AB9F-B20E-4146-8633-6004D6145D7B}" presName="rootConnector" presStyleLbl="node2" presStyleIdx="1" presStyleCnt="7"/>
      <dgm:spPr/>
      <dgm:t>
        <a:bodyPr/>
        <a:lstStyle/>
        <a:p>
          <a:endParaRPr lang="en-US"/>
        </a:p>
      </dgm:t>
    </dgm:pt>
    <dgm:pt modelId="{A758E4B0-79C0-4F7E-BB37-36562924255A}" type="pres">
      <dgm:prSet presAssocID="{67B6AB9F-B20E-4146-8633-6004D6145D7B}" presName="hierChild4" presStyleCnt="0"/>
      <dgm:spPr/>
    </dgm:pt>
    <dgm:pt modelId="{11DC3FC7-82D4-428D-AF07-2D7BA31645A1}" type="pres">
      <dgm:prSet presAssocID="{67B6AB9F-B20E-4146-8633-6004D6145D7B}" presName="hierChild5" presStyleCnt="0"/>
      <dgm:spPr/>
    </dgm:pt>
    <dgm:pt modelId="{31C9B838-5252-493F-8210-59FA71DCA6E2}" type="pres">
      <dgm:prSet presAssocID="{FE9366EE-10CE-4699-AC22-81D81C326295}" presName="Name37" presStyleLbl="parChTrans1D2" presStyleIdx="2" presStyleCnt="7"/>
      <dgm:spPr/>
      <dgm:t>
        <a:bodyPr/>
        <a:lstStyle/>
        <a:p>
          <a:endParaRPr lang="en-US"/>
        </a:p>
      </dgm:t>
    </dgm:pt>
    <dgm:pt modelId="{996EFFB0-9BBE-4AD0-B591-9843F24D5B19}" type="pres">
      <dgm:prSet presAssocID="{D1C86818-019E-4929-872E-C12A93842E97}" presName="hierRoot2" presStyleCnt="0">
        <dgm:presLayoutVars>
          <dgm:hierBranch val="init"/>
        </dgm:presLayoutVars>
      </dgm:prSet>
      <dgm:spPr/>
    </dgm:pt>
    <dgm:pt modelId="{317F5EE7-9701-4334-B5C7-06A8D83B01ED}" type="pres">
      <dgm:prSet presAssocID="{D1C86818-019E-4929-872E-C12A93842E97}" presName="rootComposite" presStyleCnt="0"/>
      <dgm:spPr/>
    </dgm:pt>
    <dgm:pt modelId="{947849E2-FCC1-4BAA-8346-67F8F63DDBD7}" type="pres">
      <dgm:prSet presAssocID="{D1C86818-019E-4929-872E-C12A93842E97}" presName="rootText" presStyleLbl="node2" presStyleIdx="2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79FFC9-89D4-4547-BC61-DACD52D1B71B}" type="pres">
      <dgm:prSet presAssocID="{D1C86818-019E-4929-872E-C12A93842E97}" presName="rootConnector" presStyleLbl="node2" presStyleIdx="2" presStyleCnt="7"/>
      <dgm:spPr/>
      <dgm:t>
        <a:bodyPr/>
        <a:lstStyle/>
        <a:p>
          <a:endParaRPr lang="en-US"/>
        </a:p>
      </dgm:t>
    </dgm:pt>
    <dgm:pt modelId="{39D8BA17-B763-48C9-BA50-813E1EE8D1E0}" type="pres">
      <dgm:prSet presAssocID="{D1C86818-019E-4929-872E-C12A93842E97}" presName="hierChild4" presStyleCnt="0"/>
      <dgm:spPr/>
    </dgm:pt>
    <dgm:pt modelId="{C9FA0E5D-B4C8-4754-96F4-1302B9FE0209}" type="pres">
      <dgm:prSet presAssocID="{D1C86818-019E-4929-872E-C12A93842E97}" presName="hierChild5" presStyleCnt="0"/>
      <dgm:spPr/>
    </dgm:pt>
    <dgm:pt modelId="{DA11D309-1092-4AE0-8E1A-D5BAE19DCA8A}" type="pres">
      <dgm:prSet presAssocID="{A5EABCF3-BBA8-4FAC-A75D-1589A1F787B0}" presName="Name37" presStyleLbl="parChTrans1D2" presStyleIdx="3" presStyleCnt="7"/>
      <dgm:spPr/>
      <dgm:t>
        <a:bodyPr/>
        <a:lstStyle/>
        <a:p>
          <a:endParaRPr lang="en-US"/>
        </a:p>
      </dgm:t>
    </dgm:pt>
    <dgm:pt modelId="{3CC22EC9-01FF-4F17-B99B-8A9A7F434FF1}" type="pres">
      <dgm:prSet presAssocID="{A9D95B63-62F8-4ECF-9FC1-A27DF26CAB45}" presName="hierRoot2" presStyleCnt="0">
        <dgm:presLayoutVars>
          <dgm:hierBranch val="init"/>
        </dgm:presLayoutVars>
      </dgm:prSet>
      <dgm:spPr/>
    </dgm:pt>
    <dgm:pt modelId="{5FB984FA-E956-45E6-99CF-A05312CF9FDD}" type="pres">
      <dgm:prSet presAssocID="{A9D95B63-62F8-4ECF-9FC1-A27DF26CAB45}" presName="rootComposite" presStyleCnt="0"/>
      <dgm:spPr/>
    </dgm:pt>
    <dgm:pt modelId="{68A03C29-C904-4B5F-B245-FE371F42DA2A}" type="pres">
      <dgm:prSet presAssocID="{A9D95B63-62F8-4ECF-9FC1-A27DF26CAB45}" presName="rootText" presStyleLbl="node2" presStyleIdx="3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D78ED-EB5D-4649-AE32-1129768CFA83}" type="pres">
      <dgm:prSet presAssocID="{A9D95B63-62F8-4ECF-9FC1-A27DF26CAB45}" presName="rootConnector" presStyleLbl="node2" presStyleIdx="3" presStyleCnt="7"/>
      <dgm:spPr/>
      <dgm:t>
        <a:bodyPr/>
        <a:lstStyle/>
        <a:p>
          <a:endParaRPr lang="en-US"/>
        </a:p>
      </dgm:t>
    </dgm:pt>
    <dgm:pt modelId="{1BF35FAA-B363-47B6-9123-BBDD1195EE4D}" type="pres">
      <dgm:prSet presAssocID="{A9D95B63-62F8-4ECF-9FC1-A27DF26CAB45}" presName="hierChild4" presStyleCnt="0"/>
      <dgm:spPr/>
    </dgm:pt>
    <dgm:pt modelId="{4593BB1B-C6BF-4D27-BB2F-D2D5A25D5CF5}" type="pres">
      <dgm:prSet presAssocID="{A9D95B63-62F8-4ECF-9FC1-A27DF26CAB45}" presName="hierChild5" presStyleCnt="0"/>
      <dgm:spPr/>
    </dgm:pt>
    <dgm:pt modelId="{9E1206AB-004E-40EA-8ED8-52264F7B664B}" type="pres">
      <dgm:prSet presAssocID="{813C61E0-D61B-4AAE-B6F4-F72B63D42E9A}" presName="Name37" presStyleLbl="parChTrans1D2" presStyleIdx="4" presStyleCnt="7"/>
      <dgm:spPr/>
      <dgm:t>
        <a:bodyPr/>
        <a:lstStyle/>
        <a:p>
          <a:endParaRPr lang="en-US"/>
        </a:p>
      </dgm:t>
    </dgm:pt>
    <dgm:pt modelId="{260F42A5-3865-44ED-AA4F-68A0860DA274}" type="pres">
      <dgm:prSet presAssocID="{BF1778F2-7250-4F90-8283-9C14A12453BA}" presName="hierRoot2" presStyleCnt="0">
        <dgm:presLayoutVars>
          <dgm:hierBranch val="init"/>
        </dgm:presLayoutVars>
      </dgm:prSet>
      <dgm:spPr/>
    </dgm:pt>
    <dgm:pt modelId="{19D0BAAA-0266-4C15-AE84-C4E1CAAB50A0}" type="pres">
      <dgm:prSet presAssocID="{BF1778F2-7250-4F90-8283-9C14A12453BA}" presName="rootComposite" presStyleCnt="0"/>
      <dgm:spPr/>
    </dgm:pt>
    <dgm:pt modelId="{883BFE8A-0CA4-4A2D-BAEC-908118206845}" type="pres">
      <dgm:prSet presAssocID="{BF1778F2-7250-4F90-8283-9C14A12453BA}" presName="rootText" presStyleLbl="node2" presStyleIdx="4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A0B3AD2-70A8-4DAA-804A-78AC1CD56469}" type="pres">
      <dgm:prSet presAssocID="{BF1778F2-7250-4F90-8283-9C14A12453BA}" presName="rootConnector" presStyleLbl="node2" presStyleIdx="4" presStyleCnt="7"/>
      <dgm:spPr/>
      <dgm:t>
        <a:bodyPr/>
        <a:lstStyle/>
        <a:p>
          <a:endParaRPr lang="en-US"/>
        </a:p>
      </dgm:t>
    </dgm:pt>
    <dgm:pt modelId="{608EA5D5-9F34-4FF2-AB06-332C09876955}" type="pres">
      <dgm:prSet presAssocID="{BF1778F2-7250-4F90-8283-9C14A12453BA}" presName="hierChild4" presStyleCnt="0"/>
      <dgm:spPr/>
    </dgm:pt>
    <dgm:pt modelId="{70F21E52-F07F-4279-B246-05FD4DFC3CA0}" type="pres">
      <dgm:prSet presAssocID="{BF1778F2-7250-4F90-8283-9C14A12453BA}" presName="hierChild5" presStyleCnt="0"/>
      <dgm:spPr/>
    </dgm:pt>
    <dgm:pt modelId="{ABEC1C4A-0695-408A-B593-0938A1E283F2}" type="pres">
      <dgm:prSet presAssocID="{79624082-191D-4F29-A5E8-F40DC044A2E7}" presName="Name37" presStyleLbl="parChTrans1D2" presStyleIdx="5" presStyleCnt="7"/>
      <dgm:spPr/>
      <dgm:t>
        <a:bodyPr/>
        <a:lstStyle/>
        <a:p>
          <a:endParaRPr lang="en-US"/>
        </a:p>
      </dgm:t>
    </dgm:pt>
    <dgm:pt modelId="{232FCBD2-5D40-41E4-9EE7-3AFD6EF8F0A8}" type="pres">
      <dgm:prSet presAssocID="{4840A4A4-FFEF-481A-9A82-082F5D35DB54}" presName="hierRoot2" presStyleCnt="0">
        <dgm:presLayoutVars>
          <dgm:hierBranch val="init"/>
        </dgm:presLayoutVars>
      </dgm:prSet>
      <dgm:spPr/>
    </dgm:pt>
    <dgm:pt modelId="{F8246479-F910-40D5-8B9F-5B9F933068A4}" type="pres">
      <dgm:prSet presAssocID="{4840A4A4-FFEF-481A-9A82-082F5D35DB54}" presName="rootComposite" presStyleCnt="0"/>
      <dgm:spPr/>
    </dgm:pt>
    <dgm:pt modelId="{EADB63DC-AE97-4FF1-B88B-F61277605997}" type="pres">
      <dgm:prSet presAssocID="{4840A4A4-FFEF-481A-9A82-082F5D35DB54}" presName="rootText" presStyleLbl="node2" presStyleIdx="5" presStyleCnt="7" custScaleY="238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482DC9B-4177-4E67-A2D4-E52EECF3692C}" type="pres">
      <dgm:prSet presAssocID="{4840A4A4-FFEF-481A-9A82-082F5D35DB54}" presName="rootConnector" presStyleLbl="node2" presStyleIdx="5" presStyleCnt="7"/>
      <dgm:spPr/>
      <dgm:t>
        <a:bodyPr/>
        <a:lstStyle/>
        <a:p>
          <a:endParaRPr lang="en-US"/>
        </a:p>
      </dgm:t>
    </dgm:pt>
    <dgm:pt modelId="{AA62C22D-E768-4E56-BD12-2EF92A4523D7}" type="pres">
      <dgm:prSet presAssocID="{4840A4A4-FFEF-481A-9A82-082F5D35DB54}" presName="hierChild4" presStyleCnt="0"/>
      <dgm:spPr/>
    </dgm:pt>
    <dgm:pt modelId="{DA6E298B-5433-486C-A0D7-076511949EF1}" type="pres">
      <dgm:prSet presAssocID="{4840A4A4-FFEF-481A-9A82-082F5D35DB54}" presName="hierChild5" presStyleCnt="0"/>
      <dgm:spPr/>
    </dgm:pt>
    <dgm:pt modelId="{FDDBA207-2503-44A5-A20B-28627A185ED2}" type="pres">
      <dgm:prSet presAssocID="{BBA14867-82F0-4258-9B9A-CDDC0C57EF23}" presName="Name37" presStyleLbl="parChTrans1D2" presStyleIdx="6" presStyleCnt="7"/>
      <dgm:spPr/>
      <dgm:t>
        <a:bodyPr/>
        <a:lstStyle/>
        <a:p>
          <a:endParaRPr lang="en-US"/>
        </a:p>
      </dgm:t>
    </dgm:pt>
    <dgm:pt modelId="{77D65272-6A41-42D6-A634-F062CC840875}" type="pres">
      <dgm:prSet presAssocID="{2BAE3789-029B-47C4-8216-74E6A8D57AEB}" presName="hierRoot2" presStyleCnt="0">
        <dgm:presLayoutVars>
          <dgm:hierBranch val="init"/>
        </dgm:presLayoutVars>
      </dgm:prSet>
      <dgm:spPr/>
    </dgm:pt>
    <dgm:pt modelId="{307A8939-54A9-494C-82B3-E3B2B785B97F}" type="pres">
      <dgm:prSet presAssocID="{2BAE3789-029B-47C4-8216-74E6A8D57AEB}" presName="rootComposite" presStyleCnt="0"/>
      <dgm:spPr/>
    </dgm:pt>
    <dgm:pt modelId="{5587B695-25AE-4151-8D10-3CD7D2F49663}" type="pres">
      <dgm:prSet presAssocID="{2BAE3789-029B-47C4-8216-74E6A8D57AEB}" presName="rootText" presStyleLbl="node2" presStyleIdx="6" presStyleCnt="7" custScaleY="2337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87FB431-75EE-4556-AE4E-D28783D91B7C}" type="pres">
      <dgm:prSet presAssocID="{2BAE3789-029B-47C4-8216-74E6A8D57AEB}" presName="rootConnector" presStyleLbl="node2" presStyleIdx="6" presStyleCnt="7"/>
      <dgm:spPr/>
      <dgm:t>
        <a:bodyPr/>
        <a:lstStyle/>
        <a:p>
          <a:endParaRPr lang="en-US"/>
        </a:p>
      </dgm:t>
    </dgm:pt>
    <dgm:pt modelId="{75754562-C17F-4A48-9F74-C8304E5AB4EF}" type="pres">
      <dgm:prSet presAssocID="{2BAE3789-029B-47C4-8216-74E6A8D57AEB}" presName="hierChild4" presStyleCnt="0"/>
      <dgm:spPr/>
    </dgm:pt>
    <dgm:pt modelId="{04DF1FB9-61EE-46BE-9144-D5FFA02878EB}" type="pres">
      <dgm:prSet presAssocID="{2BAE3789-029B-47C4-8216-74E6A8D57AEB}" presName="hierChild5" presStyleCnt="0"/>
      <dgm:spPr/>
    </dgm:pt>
    <dgm:pt modelId="{AD3D7CFE-165A-4845-9F2D-9C7F5245D735}" type="pres">
      <dgm:prSet presAssocID="{44CAFA93-9FEF-4E5F-9642-88CD5E42F757}" presName="hierChild3" presStyleCnt="0"/>
      <dgm:spPr/>
    </dgm:pt>
  </dgm:ptLst>
  <dgm:cxnLst>
    <dgm:cxn modelId="{2A108BF5-C8C0-42F4-BD7B-9C260DB60B94}" type="presOf" srcId="{BBA14867-82F0-4258-9B9A-CDDC0C57EF23}" destId="{FDDBA207-2503-44A5-A20B-28627A185ED2}" srcOrd="0" destOrd="0" presId="urn:microsoft.com/office/officeart/2005/8/layout/orgChart1"/>
    <dgm:cxn modelId="{8465E227-6024-4BCA-927B-A9642F1D1AC9}" type="presOf" srcId="{D1C86818-019E-4929-872E-C12A93842E97}" destId="{947849E2-FCC1-4BAA-8346-67F8F63DDBD7}" srcOrd="0" destOrd="0" presId="urn:microsoft.com/office/officeart/2005/8/layout/orgChart1"/>
    <dgm:cxn modelId="{665FCDDF-95B8-49D8-91AC-0E54EA10B978}" srcId="{44CAFA93-9FEF-4E5F-9642-88CD5E42F757}" destId="{D1C86818-019E-4929-872E-C12A93842E97}" srcOrd="2" destOrd="0" parTransId="{FE9366EE-10CE-4699-AC22-81D81C326295}" sibTransId="{C1D7264C-AE20-4BAE-ABCD-8F2692AE7DDF}"/>
    <dgm:cxn modelId="{4F74D244-DDA7-4218-BEA0-2EA58E6EA90D}" type="presOf" srcId="{813C61E0-D61B-4AAE-B6F4-F72B63D42E9A}" destId="{9E1206AB-004E-40EA-8ED8-52264F7B664B}" srcOrd="0" destOrd="0" presId="urn:microsoft.com/office/officeart/2005/8/layout/orgChart1"/>
    <dgm:cxn modelId="{B5544074-C61B-44AE-849D-9F63F5D3F00D}" type="presOf" srcId="{2BAE3789-029B-47C4-8216-74E6A8D57AEB}" destId="{5587B695-25AE-4151-8D10-3CD7D2F49663}" srcOrd="0" destOrd="0" presId="urn:microsoft.com/office/officeart/2005/8/layout/orgChart1"/>
    <dgm:cxn modelId="{BD2F723D-4ED5-44C2-8858-A277C32BFE2B}" srcId="{44CAFA93-9FEF-4E5F-9642-88CD5E42F757}" destId="{E449E611-151C-40B5-89E4-1D6462D35D1C}" srcOrd="0" destOrd="0" parTransId="{120FEEF4-EF49-4919-8800-7804F01BA61F}" sibTransId="{9829A6F7-A208-468E-810D-E34FE052FD9F}"/>
    <dgm:cxn modelId="{27847C1F-5180-4791-96F1-2B435D30B8CF}" type="presOf" srcId="{67B6AB9F-B20E-4146-8633-6004D6145D7B}" destId="{7AEABE99-3852-4A60-BD5A-9EF670C75D8B}" srcOrd="1" destOrd="0" presId="urn:microsoft.com/office/officeart/2005/8/layout/orgChart1"/>
    <dgm:cxn modelId="{AD6D01B1-A606-4854-A5D1-8B746EB841B7}" srcId="{44CAFA93-9FEF-4E5F-9642-88CD5E42F757}" destId="{4840A4A4-FFEF-481A-9A82-082F5D35DB54}" srcOrd="5" destOrd="0" parTransId="{79624082-191D-4F29-A5E8-F40DC044A2E7}" sibTransId="{7B6B5590-304F-477C-A77C-E33D2E5458CF}"/>
    <dgm:cxn modelId="{5675F6DF-5060-4804-A999-BF25159C9634}" type="presOf" srcId="{79624082-191D-4F29-A5E8-F40DC044A2E7}" destId="{ABEC1C4A-0695-408A-B593-0938A1E283F2}" srcOrd="0" destOrd="0" presId="urn:microsoft.com/office/officeart/2005/8/layout/orgChart1"/>
    <dgm:cxn modelId="{ACAB5BE1-525C-48D4-8326-7B22B88A74E5}" type="presOf" srcId="{D1C86818-019E-4929-872E-C12A93842E97}" destId="{2379FFC9-89D4-4547-BC61-DACD52D1B71B}" srcOrd="1" destOrd="0" presId="urn:microsoft.com/office/officeart/2005/8/layout/orgChart1"/>
    <dgm:cxn modelId="{971F48E0-C7C8-4B40-A813-F1F62A261C20}" type="presOf" srcId="{4840A4A4-FFEF-481A-9A82-082F5D35DB54}" destId="{4482DC9B-4177-4E67-A2D4-E52EECF3692C}" srcOrd="1" destOrd="0" presId="urn:microsoft.com/office/officeart/2005/8/layout/orgChart1"/>
    <dgm:cxn modelId="{7DE84BA7-D375-4835-8409-3671AA151396}" srcId="{44CAFA93-9FEF-4E5F-9642-88CD5E42F757}" destId="{BF1778F2-7250-4F90-8283-9C14A12453BA}" srcOrd="4" destOrd="0" parTransId="{813C61E0-D61B-4AAE-B6F4-F72B63D42E9A}" sibTransId="{1CFC59FC-002F-4354-B2EE-59885CD9FDAE}"/>
    <dgm:cxn modelId="{7305765D-A426-4C5D-8110-68714A89AF03}" srcId="{44CAFA93-9FEF-4E5F-9642-88CD5E42F757}" destId="{2BAE3789-029B-47C4-8216-74E6A8D57AEB}" srcOrd="6" destOrd="0" parTransId="{BBA14867-82F0-4258-9B9A-CDDC0C57EF23}" sibTransId="{D69AFC46-F038-4791-9C17-8BA91F51EF47}"/>
    <dgm:cxn modelId="{0BF8593E-2398-4C45-B80F-8EE6979286D7}" type="presOf" srcId="{44CAFA93-9FEF-4E5F-9642-88CD5E42F757}" destId="{F2621643-E79A-40DA-8614-1D0BF563D304}" srcOrd="1" destOrd="0" presId="urn:microsoft.com/office/officeart/2005/8/layout/orgChart1"/>
    <dgm:cxn modelId="{1D71BB0B-44EE-475C-B591-803583BD9134}" srcId="{EF60CA96-D885-45EE-80C3-2C77DB62E790}" destId="{44CAFA93-9FEF-4E5F-9642-88CD5E42F757}" srcOrd="0" destOrd="0" parTransId="{FF93D7E9-E276-4010-86B8-CA35EB566BB4}" sibTransId="{4BFAFDC5-09AB-4B7B-8CD5-0FC56849D49C}"/>
    <dgm:cxn modelId="{7FDED37A-B312-495B-8749-299B7A775B60}" type="presOf" srcId="{4840A4A4-FFEF-481A-9A82-082F5D35DB54}" destId="{EADB63DC-AE97-4FF1-B88B-F61277605997}" srcOrd="0" destOrd="0" presId="urn:microsoft.com/office/officeart/2005/8/layout/orgChart1"/>
    <dgm:cxn modelId="{9692AAF2-C9BD-4334-8445-995DA08BB8E7}" type="presOf" srcId="{A9D95B63-62F8-4ECF-9FC1-A27DF26CAB45}" destId="{68A03C29-C904-4B5F-B245-FE371F42DA2A}" srcOrd="0" destOrd="0" presId="urn:microsoft.com/office/officeart/2005/8/layout/orgChart1"/>
    <dgm:cxn modelId="{C7FFFD29-3113-4E6C-9F98-9C9ECC1E7F0E}" type="presOf" srcId="{FE9366EE-10CE-4699-AC22-81D81C326295}" destId="{31C9B838-5252-493F-8210-59FA71DCA6E2}" srcOrd="0" destOrd="0" presId="urn:microsoft.com/office/officeart/2005/8/layout/orgChart1"/>
    <dgm:cxn modelId="{003D7B92-B86D-4BAE-A10E-BCFF0E04D219}" srcId="{44CAFA93-9FEF-4E5F-9642-88CD5E42F757}" destId="{A9D95B63-62F8-4ECF-9FC1-A27DF26CAB45}" srcOrd="3" destOrd="0" parTransId="{A5EABCF3-BBA8-4FAC-A75D-1589A1F787B0}" sibTransId="{850DDB73-8537-4D13-9081-A91FB33C270C}"/>
    <dgm:cxn modelId="{3B507322-E556-4E4D-B029-280DA243CD90}" type="presOf" srcId="{67B6AB9F-B20E-4146-8633-6004D6145D7B}" destId="{C5F933B0-21BA-4861-971A-95BD08C6E080}" srcOrd="0" destOrd="0" presId="urn:microsoft.com/office/officeart/2005/8/layout/orgChart1"/>
    <dgm:cxn modelId="{D47B4CB1-4A06-40F7-9640-94CD7DEA55F8}" srcId="{44CAFA93-9FEF-4E5F-9642-88CD5E42F757}" destId="{67B6AB9F-B20E-4146-8633-6004D6145D7B}" srcOrd="1" destOrd="0" parTransId="{1E320E83-014B-4EE3-8DEA-106DC855896F}" sibTransId="{F9C52E8B-AE4F-4B43-BC6A-F20417BBB2CF}"/>
    <dgm:cxn modelId="{D5BDD793-751F-4604-91FC-E8D26F5202A1}" type="presOf" srcId="{E449E611-151C-40B5-89E4-1D6462D35D1C}" destId="{39D6BE6C-2ADD-4EA4-8EA2-050CA0102470}" srcOrd="1" destOrd="0" presId="urn:microsoft.com/office/officeart/2005/8/layout/orgChart1"/>
    <dgm:cxn modelId="{E642A6E7-079F-4E28-BC08-AC061FD42CB5}" type="presOf" srcId="{A9D95B63-62F8-4ECF-9FC1-A27DF26CAB45}" destId="{6EFD78ED-EB5D-4649-AE32-1129768CFA83}" srcOrd="1" destOrd="0" presId="urn:microsoft.com/office/officeart/2005/8/layout/orgChart1"/>
    <dgm:cxn modelId="{058DA354-8817-431A-906D-F5E39B8CF9B2}" type="presOf" srcId="{1E320E83-014B-4EE3-8DEA-106DC855896F}" destId="{41CFCF0A-25A5-4503-BB89-4781CE01F0E7}" srcOrd="0" destOrd="0" presId="urn:microsoft.com/office/officeart/2005/8/layout/orgChart1"/>
    <dgm:cxn modelId="{6EC3C944-32AB-430F-B34A-67C19515CC27}" type="presOf" srcId="{2BAE3789-029B-47C4-8216-74E6A8D57AEB}" destId="{E87FB431-75EE-4556-AE4E-D28783D91B7C}" srcOrd="1" destOrd="0" presId="urn:microsoft.com/office/officeart/2005/8/layout/orgChart1"/>
    <dgm:cxn modelId="{8E745D49-9BE5-4059-AA71-F7CD8E1EC2FD}" type="presOf" srcId="{E449E611-151C-40B5-89E4-1D6462D35D1C}" destId="{52F3F4D1-2C17-40A3-BB38-4103BC39E648}" srcOrd="0" destOrd="0" presId="urn:microsoft.com/office/officeart/2005/8/layout/orgChart1"/>
    <dgm:cxn modelId="{64BED2C2-767F-41EB-9271-400BCCA12145}" type="presOf" srcId="{EF60CA96-D885-45EE-80C3-2C77DB62E790}" destId="{5F26EB0B-98BB-4103-9CDD-BB9EE9D889B4}" srcOrd="0" destOrd="0" presId="urn:microsoft.com/office/officeart/2005/8/layout/orgChart1"/>
    <dgm:cxn modelId="{70CE3406-AF74-4FA7-AFEB-8FF7F00A3689}" type="presOf" srcId="{BF1778F2-7250-4F90-8283-9C14A12453BA}" destId="{2A0B3AD2-70A8-4DAA-804A-78AC1CD56469}" srcOrd="1" destOrd="0" presId="urn:microsoft.com/office/officeart/2005/8/layout/orgChart1"/>
    <dgm:cxn modelId="{B2B6D863-9042-4DE0-9339-2280F9D0FE54}" type="presOf" srcId="{BF1778F2-7250-4F90-8283-9C14A12453BA}" destId="{883BFE8A-0CA4-4A2D-BAEC-908118206845}" srcOrd="0" destOrd="0" presId="urn:microsoft.com/office/officeart/2005/8/layout/orgChart1"/>
    <dgm:cxn modelId="{BDB1B726-BF33-41DF-9644-25018CF49E9F}" type="presOf" srcId="{A5EABCF3-BBA8-4FAC-A75D-1589A1F787B0}" destId="{DA11D309-1092-4AE0-8E1A-D5BAE19DCA8A}" srcOrd="0" destOrd="0" presId="urn:microsoft.com/office/officeart/2005/8/layout/orgChart1"/>
    <dgm:cxn modelId="{3C461802-6F67-4891-9B9B-3F968ABEDA70}" type="presOf" srcId="{120FEEF4-EF49-4919-8800-7804F01BA61F}" destId="{E16A8FD6-EBA2-425B-A78F-8EF5181173A9}" srcOrd="0" destOrd="0" presId="urn:microsoft.com/office/officeart/2005/8/layout/orgChart1"/>
    <dgm:cxn modelId="{9D3E8834-CCFC-4357-B640-4CF467EB4CB6}" type="presOf" srcId="{44CAFA93-9FEF-4E5F-9642-88CD5E42F757}" destId="{E54AF0DD-8C8D-4068-8B21-DB050E42C239}" srcOrd="0" destOrd="0" presId="urn:microsoft.com/office/officeart/2005/8/layout/orgChart1"/>
    <dgm:cxn modelId="{C284453C-43D7-4D4E-85A8-BB7C78E5F5B4}" type="presParOf" srcId="{5F26EB0B-98BB-4103-9CDD-BB9EE9D889B4}" destId="{533DC18B-149C-479F-8BC9-BD8D1195FA34}" srcOrd="0" destOrd="0" presId="urn:microsoft.com/office/officeart/2005/8/layout/orgChart1"/>
    <dgm:cxn modelId="{31087C8D-F416-4DA6-B23C-A1554DE26DEA}" type="presParOf" srcId="{533DC18B-149C-479F-8BC9-BD8D1195FA34}" destId="{061A4E60-863E-4629-999C-8DC00B7E0AEA}" srcOrd="0" destOrd="0" presId="urn:microsoft.com/office/officeart/2005/8/layout/orgChart1"/>
    <dgm:cxn modelId="{B2B8566A-DC0F-4523-8093-6CAA735E6771}" type="presParOf" srcId="{061A4E60-863E-4629-999C-8DC00B7E0AEA}" destId="{E54AF0DD-8C8D-4068-8B21-DB050E42C239}" srcOrd="0" destOrd="0" presId="urn:microsoft.com/office/officeart/2005/8/layout/orgChart1"/>
    <dgm:cxn modelId="{B72170C5-B659-411B-A4D4-66DA04F90A11}" type="presParOf" srcId="{061A4E60-863E-4629-999C-8DC00B7E0AEA}" destId="{F2621643-E79A-40DA-8614-1D0BF563D304}" srcOrd="1" destOrd="0" presId="urn:microsoft.com/office/officeart/2005/8/layout/orgChart1"/>
    <dgm:cxn modelId="{CF06C851-3720-4884-B298-44F9EF2931EE}" type="presParOf" srcId="{533DC18B-149C-479F-8BC9-BD8D1195FA34}" destId="{85AD64D0-ECB6-4F39-8C3B-8480DD644C4A}" srcOrd="1" destOrd="0" presId="urn:microsoft.com/office/officeart/2005/8/layout/orgChart1"/>
    <dgm:cxn modelId="{E048707B-39E6-4C39-BD9A-3796F620DBD7}" type="presParOf" srcId="{85AD64D0-ECB6-4F39-8C3B-8480DD644C4A}" destId="{E16A8FD6-EBA2-425B-A78F-8EF5181173A9}" srcOrd="0" destOrd="0" presId="urn:microsoft.com/office/officeart/2005/8/layout/orgChart1"/>
    <dgm:cxn modelId="{AE00DD26-902D-4EDF-9DC2-30339DAD5208}" type="presParOf" srcId="{85AD64D0-ECB6-4F39-8C3B-8480DD644C4A}" destId="{40973984-67C0-429D-81CE-3F53BAAF3C05}" srcOrd="1" destOrd="0" presId="urn:microsoft.com/office/officeart/2005/8/layout/orgChart1"/>
    <dgm:cxn modelId="{C04C30B7-9373-456E-BDE9-B7C03A90772B}" type="presParOf" srcId="{40973984-67C0-429D-81CE-3F53BAAF3C05}" destId="{C0B54FC1-B082-4480-8751-5D2851D10905}" srcOrd="0" destOrd="0" presId="urn:microsoft.com/office/officeart/2005/8/layout/orgChart1"/>
    <dgm:cxn modelId="{B150DA4A-A1F4-4B8D-BF5D-7A9B30204C4A}" type="presParOf" srcId="{C0B54FC1-B082-4480-8751-5D2851D10905}" destId="{52F3F4D1-2C17-40A3-BB38-4103BC39E648}" srcOrd="0" destOrd="0" presId="urn:microsoft.com/office/officeart/2005/8/layout/orgChart1"/>
    <dgm:cxn modelId="{95DC2368-871D-4AFF-A7EA-718651CA7A19}" type="presParOf" srcId="{C0B54FC1-B082-4480-8751-5D2851D10905}" destId="{39D6BE6C-2ADD-4EA4-8EA2-050CA0102470}" srcOrd="1" destOrd="0" presId="urn:microsoft.com/office/officeart/2005/8/layout/orgChart1"/>
    <dgm:cxn modelId="{E176D3DB-2BB3-40D7-AAEC-C923887985DE}" type="presParOf" srcId="{40973984-67C0-429D-81CE-3F53BAAF3C05}" destId="{7BE2B0FF-0403-42FA-A1B3-FC26F8BFD787}" srcOrd="1" destOrd="0" presId="urn:microsoft.com/office/officeart/2005/8/layout/orgChart1"/>
    <dgm:cxn modelId="{86567B50-F62F-4A9C-9F44-D526322AE340}" type="presParOf" srcId="{40973984-67C0-429D-81CE-3F53BAAF3C05}" destId="{FD16C55E-5C0E-4850-B281-B2C969F7292A}" srcOrd="2" destOrd="0" presId="urn:microsoft.com/office/officeart/2005/8/layout/orgChart1"/>
    <dgm:cxn modelId="{513C0A5B-E3AA-4071-8FF1-C48B784318D9}" type="presParOf" srcId="{85AD64D0-ECB6-4F39-8C3B-8480DD644C4A}" destId="{41CFCF0A-25A5-4503-BB89-4781CE01F0E7}" srcOrd="2" destOrd="0" presId="urn:microsoft.com/office/officeart/2005/8/layout/orgChart1"/>
    <dgm:cxn modelId="{FB7AE08A-D2C9-433B-9927-4DF77605BE5A}" type="presParOf" srcId="{85AD64D0-ECB6-4F39-8C3B-8480DD644C4A}" destId="{05CB6007-43C4-409F-8B56-09AE80C99114}" srcOrd="3" destOrd="0" presId="urn:microsoft.com/office/officeart/2005/8/layout/orgChart1"/>
    <dgm:cxn modelId="{68AFEE95-F3CD-4730-A877-FB5C9CB14B9C}" type="presParOf" srcId="{05CB6007-43C4-409F-8B56-09AE80C99114}" destId="{26C86D9B-92AC-4603-AAB5-A74B1DE87B5D}" srcOrd="0" destOrd="0" presId="urn:microsoft.com/office/officeart/2005/8/layout/orgChart1"/>
    <dgm:cxn modelId="{27C8744A-D40A-4F48-B935-0AA4E586C54B}" type="presParOf" srcId="{26C86D9B-92AC-4603-AAB5-A74B1DE87B5D}" destId="{C5F933B0-21BA-4861-971A-95BD08C6E080}" srcOrd="0" destOrd="0" presId="urn:microsoft.com/office/officeart/2005/8/layout/orgChart1"/>
    <dgm:cxn modelId="{6BB9414B-D0BA-40C9-AD4C-A72E3FFC5932}" type="presParOf" srcId="{26C86D9B-92AC-4603-AAB5-A74B1DE87B5D}" destId="{7AEABE99-3852-4A60-BD5A-9EF670C75D8B}" srcOrd="1" destOrd="0" presId="urn:microsoft.com/office/officeart/2005/8/layout/orgChart1"/>
    <dgm:cxn modelId="{E1BCAA1E-04A8-4475-8B4B-B54315721ACA}" type="presParOf" srcId="{05CB6007-43C4-409F-8B56-09AE80C99114}" destId="{A758E4B0-79C0-4F7E-BB37-36562924255A}" srcOrd="1" destOrd="0" presId="urn:microsoft.com/office/officeart/2005/8/layout/orgChart1"/>
    <dgm:cxn modelId="{B166DE13-905C-4054-8EF1-DBAB3224C147}" type="presParOf" srcId="{05CB6007-43C4-409F-8B56-09AE80C99114}" destId="{11DC3FC7-82D4-428D-AF07-2D7BA31645A1}" srcOrd="2" destOrd="0" presId="urn:microsoft.com/office/officeart/2005/8/layout/orgChart1"/>
    <dgm:cxn modelId="{7952707D-42AF-485E-B3A9-2045CCF4CCC3}" type="presParOf" srcId="{85AD64D0-ECB6-4F39-8C3B-8480DD644C4A}" destId="{31C9B838-5252-493F-8210-59FA71DCA6E2}" srcOrd="4" destOrd="0" presId="urn:microsoft.com/office/officeart/2005/8/layout/orgChart1"/>
    <dgm:cxn modelId="{07AFE448-7CFC-408D-9191-EB6D0CE6CC6E}" type="presParOf" srcId="{85AD64D0-ECB6-4F39-8C3B-8480DD644C4A}" destId="{996EFFB0-9BBE-4AD0-B591-9843F24D5B19}" srcOrd="5" destOrd="0" presId="urn:microsoft.com/office/officeart/2005/8/layout/orgChart1"/>
    <dgm:cxn modelId="{3AA8C50B-BEBE-4EF8-A2FE-6B982592DCFF}" type="presParOf" srcId="{996EFFB0-9BBE-4AD0-B591-9843F24D5B19}" destId="{317F5EE7-9701-4334-B5C7-06A8D83B01ED}" srcOrd="0" destOrd="0" presId="urn:microsoft.com/office/officeart/2005/8/layout/orgChart1"/>
    <dgm:cxn modelId="{851A706A-FCF4-476D-8D7B-3D43A84472AB}" type="presParOf" srcId="{317F5EE7-9701-4334-B5C7-06A8D83B01ED}" destId="{947849E2-FCC1-4BAA-8346-67F8F63DDBD7}" srcOrd="0" destOrd="0" presId="urn:microsoft.com/office/officeart/2005/8/layout/orgChart1"/>
    <dgm:cxn modelId="{C2FE5A0E-1305-4040-9DC8-502165CE3FB9}" type="presParOf" srcId="{317F5EE7-9701-4334-B5C7-06A8D83B01ED}" destId="{2379FFC9-89D4-4547-BC61-DACD52D1B71B}" srcOrd="1" destOrd="0" presId="urn:microsoft.com/office/officeart/2005/8/layout/orgChart1"/>
    <dgm:cxn modelId="{BBF37D57-9259-4329-B58B-F77604408B6A}" type="presParOf" srcId="{996EFFB0-9BBE-4AD0-B591-9843F24D5B19}" destId="{39D8BA17-B763-48C9-BA50-813E1EE8D1E0}" srcOrd="1" destOrd="0" presId="urn:microsoft.com/office/officeart/2005/8/layout/orgChart1"/>
    <dgm:cxn modelId="{89C9193F-90C8-4458-AC58-F18C3839C3FF}" type="presParOf" srcId="{996EFFB0-9BBE-4AD0-B591-9843F24D5B19}" destId="{C9FA0E5D-B4C8-4754-96F4-1302B9FE0209}" srcOrd="2" destOrd="0" presId="urn:microsoft.com/office/officeart/2005/8/layout/orgChart1"/>
    <dgm:cxn modelId="{89A9CDE5-791C-4BBE-B70B-2855282B19FC}" type="presParOf" srcId="{85AD64D0-ECB6-4F39-8C3B-8480DD644C4A}" destId="{DA11D309-1092-4AE0-8E1A-D5BAE19DCA8A}" srcOrd="6" destOrd="0" presId="urn:microsoft.com/office/officeart/2005/8/layout/orgChart1"/>
    <dgm:cxn modelId="{43F5A953-1580-423A-966C-3C568EE927FD}" type="presParOf" srcId="{85AD64D0-ECB6-4F39-8C3B-8480DD644C4A}" destId="{3CC22EC9-01FF-4F17-B99B-8A9A7F434FF1}" srcOrd="7" destOrd="0" presId="urn:microsoft.com/office/officeart/2005/8/layout/orgChart1"/>
    <dgm:cxn modelId="{EE10A0F6-11C6-42F6-A5C2-9A043A518CFE}" type="presParOf" srcId="{3CC22EC9-01FF-4F17-B99B-8A9A7F434FF1}" destId="{5FB984FA-E956-45E6-99CF-A05312CF9FDD}" srcOrd="0" destOrd="0" presId="urn:microsoft.com/office/officeart/2005/8/layout/orgChart1"/>
    <dgm:cxn modelId="{1A50031A-FFF2-43BE-8027-D0468C4AF7D7}" type="presParOf" srcId="{5FB984FA-E956-45E6-99CF-A05312CF9FDD}" destId="{68A03C29-C904-4B5F-B245-FE371F42DA2A}" srcOrd="0" destOrd="0" presId="urn:microsoft.com/office/officeart/2005/8/layout/orgChart1"/>
    <dgm:cxn modelId="{CDCB26AC-1E4F-42A2-B1FA-7AA752627ED6}" type="presParOf" srcId="{5FB984FA-E956-45E6-99CF-A05312CF9FDD}" destId="{6EFD78ED-EB5D-4649-AE32-1129768CFA83}" srcOrd="1" destOrd="0" presId="urn:microsoft.com/office/officeart/2005/8/layout/orgChart1"/>
    <dgm:cxn modelId="{C8AAAE02-6ABD-4690-93E7-B39A6627152B}" type="presParOf" srcId="{3CC22EC9-01FF-4F17-B99B-8A9A7F434FF1}" destId="{1BF35FAA-B363-47B6-9123-BBDD1195EE4D}" srcOrd="1" destOrd="0" presId="urn:microsoft.com/office/officeart/2005/8/layout/orgChart1"/>
    <dgm:cxn modelId="{D9A5D0A3-9E09-4880-A195-36BC7E3A5C53}" type="presParOf" srcId="{3CC22EC9-01FF-4F17-B99B-8A9A7F434FF1}" destId="{4593BB1B-C6BF-4D27-BB2F-D2D5A25D5CF5}" srcOrd="2" destOrd="0" presId="urn:microsoft.com/office/officeart/2005/8/layout/orgChart1"/>
    <dgm:cxn modelId="{3E394882-E651-417D-AC32-AE8123D3DFE8}" type="presParOf" srcId="{85AD64D0-ECB6-4F39-8C3B-8480DD644C4A}" destId="{9E1206AB-004E-40EA-8ED8-52264F7B664B}" srcOrd="8" destOrd="0" presId="urn:microsoft.com/office/officeart/2005/8/layout/orgChart1"/>
    <dgm:cxn modelId="{E2599985-CBCE-466A-9E35-E7F4044D9D4E}" type="presParOf" srcId="{85AD64D0-ECB6-4F39-8C3B-8480DD644C4A}" destId="{260F42A5-3865-44ED-AA4F-68A0860DA274}" srcOrd="9" destOrd="0" presId="urn:microsoft.com/office/officeart/2005/8/layout/orgChart1"/>
    <dgm:cxn modelId="{3BBB6904-80D8-432F-977D-63F5E7D30F86}" type="presParOf" srcId="{260F42A5-3865-44ED-AA4F-68A0860DA274}" destId="{19D0BAAA-0266-4C15-AE84-C4E1CAAB50A0}" srcOrd="0" destOrd="0" presId="urn:microsoft.com/office/officeart/2005/8/layout/orgChart1"/>
    <dgm:cxn modelId="{62B9B614-062A-4650-9807-69EC6F94D591}" type="presParOf" srcId="{19D0BAAA-0266-4C15-AE84-C4E1CAAB50A0}" destId="{883BFE8A-0CA4-4A2D-BAEC-908118206845}" srcOrd="0" destOrd="0" presId="urn:microsoft.com/office/officeart/2005/8/layout/orgChart1"/>
    <dgm:cxn modelId="{741695A0-0711-45CF-9254-49AB0C68E290}" type="presParOf" srcId="{19D0BAAA-0266-4C15-AE84-C4E1CAAB50A0}" destId="{2A0B3AD2-70A8-4DAA-804A-78AC1CD56469}" srcOrd="1" destOrd="0" presId="urn:microsoft.com/office/officeart/2005/8/layout/orgChart1"/>
    <dgm:cxn modelId="{E9CBF89A-6742-47E2-AAFC-9ACCCE1D130E}" type="presParOf" srcId="{260F42A5-3865-44ED-AA4F-68A0860DA274}" destId="{608EA5D5-9F34-4FF2-AB06-332C09876955}" srcOrd="1" destOrd="0" presId="urn:microsoft.com/office/officeart/2005/8/layout/orgChart1"/>
    <dgm:cxn modelId="{A0C837BB-CDDA-4D23-B0A4-DFD61AA87624}" type="presParOf" srcId="{260F42A5-3865-44ED-AA4F-68A0860DA274}" destId="{70F21E52-F07F-4279-B246-05FD4DFC3CA0}" srcOrd="2" destOrd="0" presId="urn:microsoft.com/office/officeart/2005/8/layout/orgChart1"/>
    <dgm:cxn modelId="{066D798E-8A23-4BE8-8A18-D47CCE4BEECB}" type="presParOf" srcId="{85AD64D0-ECB6-4F39-8C3B-8480DD644C4A}" destId="{ABEC1C4A-0695-408A-B593-0938A1E283F2}" srcOrd="10" destOrd="0" presId="urn:microsoft.com/office/officeart/2005/8/layout/orgChart1"/>
    <dgm:cxn modelId="{B05DD026-768A-4FEB-B4A8-9E57DD978939}" type="presParOf" srcId="{85AD64D0-ECB6-4F39-8C3B-8480DD644C4A}" destId="{232FCBD2-5D40-41E4-9EE7-3AFD6EF8F0A8}" srcOrd="11" destOrd="0" presId="urn:microsoft.com/office/officeart/2005/8/layout/orgChart1"/>
    <dgm:cxn modelId="{AE60FD14-1507-4C6B-9CAF-9CC0B05DEF76}" type="presParOf" srcId="{232FCBD2-5D40-41E4-9EE7-3AFD6EF8F0A8}" destId="{F8246479-F910-40D5-8B9F-5B9F933068A4}" srcOrd="0" destOrd="0" presId="urn:microsoft.com/office/officeart/2005/8/layout/orgChart1"/>
    <dgm:cxn modelId="{3984A2F9-5CBB-43B5-81BC-0E3B229B7EA8}" type="presParOf" srcId="{F8246479-F910-40D5-8B9F-5B9F933068A4}" destId="{EADB63DC-AE97-4FF1-B88B-F61277605997}" srcOrd="0" destOrd="0" presId="urn:microsoft.com/office/officeart/2005/8/layout/orgChart1"/>
    <dgm:cxn modelId="{DEBEA35F-961B-4DDD-8022-D07F139591FE}" type="presParOf" srcId="{F8246479-F910-40D5-8B9F-5B9F933068A4}" destId="{4482DC9B-4177-4E67-A2D4-E52EECF3692C}" srcOrd="1" destOrd="0" presId="urn:microsoft.com/office/officeart/2005/8/layout/orgChart1"/>
    <dgm:cxn modelId="{A387747C-6C59-40F7-8C52-6214DCB44FDF}" type="presParOf" srcId="{232FCBD2-5D40-41E4-9EE7-3AFD6EF8F0A8}" destId="{AA62C22D-E768-4E56-BD12-2EF92A4523D7}" srcOrd="1" destOrd="0" presId="urn:microsoft.com/office/officeart/2005/8/layout/orgChart1"/>
    <dgm:cxn modelId="{9A84BBF8-3215-4C8B-AD2C-357DB0ECE555}" type="presParOf" srcId="{232FCBD2-5D40-41E4-9EE7-3AFD6EF8F0A8}" destId="{DA6E298B-5433-486C-A0D7-076511949EF1}" srcOrd="2" destOrd="0" presId="urn:microsoft.com/office/officeart/2005/8/layout/orgChart1"/>
    <dgm:cxn modelId="{E924A6D2-37C8-423A-8459-003732E5D679}" type="presParOf" srcId="{85AD64D0-ECB6-4F39-8C3B-8480DD644C4A}" destId="{FDDBA207-2503-44A5-A20B-28627A185ED2}" srcOrd="12" destOrd="0" presId="urn:microsoft.com/office/officeart/2005/8/layout/orgChart1"/>
    <dgm:cxn modelId="{682569D1-26F0-4499-B3B4-50C9613713FF}" type="presParOf" srcId="{85AD64D0-ECB6-4F39-8C3B-8480DD644C4A}" destId="{77D65272-6A41-42D6-A634-F062CC840875}" srcOrd="13" destOrd="0" presId="urn:microsoft.com/office/officeart/2005/8/layout/orgChart1"/>
    <dgm:cxn modelId="{F25B6392-A57E-459A-AE49-95920090B685}" type="presParOf" srcId="{77D65272-6A41-42D6-A634-F062CC840875}" destId="{307A8939-54A9-494C-82B3-E3B2B785B97F}" srcOrd="0" destOrd="0" presId="urn:microsoft.com/office/officeart/2005/8/layout/orgChart1"/>
    <dgm:cxn modelId="{516A13F9-C1A9-4E96-9391-042552910391}" type="presParOf" srcId="{307A8939-54A9-494C-82B3-E3B2B785B97F}" destId="{5587B695-25AE-4151-8D10-3CD7D2F49663}" srcOrd="0" destOrd="0" presId="urn:microsoft.com/office/officeart/2005/8/layout/orgChart1"/>
    <dgm:cxn modelId="{9DA6A1A8-A493-4716-B60F-C3EECF6349CE}" type="presParOf" srcId="{307A8939-54A9-494C-82B3-E3B2B785B97F}" destId="{E87FB431-75EE-4556-AE4E-D28783D91B7C}" srcOrd="1" destOrd="0" presId="urn:microsoft.com/office/officeart/2005/8/layout/orgChart1"/>
    <dgm:cxn modelId="{ECC8BB45-9724-4AA4-AA3A-A87B16D346D2}" type="presParOf" srcId="{77D65272-6A41-42D6-A634-F062CC840875}" destId="{75754562-C17F-4A48-9F74-C8304E5AB4EF}" srcOrd="1" destOrd="0" presId="urn:microsoft.com/office/officeart/2005/8/layout/orgChart1"/>
    <dgm:cxn modelId="{76A4BAAA-B624-4499-A002-A1011A29D2A9}" type="presParOf" srcId="{77D65272-6A41-42D6-A634-F062CC840875}" destId="{04DF1FB9-61EE-46BE-9144-D5FFA02878EB}" srcOrd="2" destOrd="0" presId="urn:microsoft.com/office/officeart/2005/8/layout/orgChart1"/>
    <dgm:cxn modelId="{E6BD0EA3-AB4C-467D-93DF-2CDBB541003B}" type="presParOf" srcId="{533DC18B-149C-479F-8BC9-BD8D1195FA34}" destId="{AD3D7CFE-165A-4845-9F2D-9C7F5245D73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E02C145-6FEB-4E0C-A287-22F1D069CA6B}">
      <dsp:nvSpPr>
        <dsp:cNvPr id="0" name=""/>
        <dsp:cNvSpPr/>
      </dsp:nvSpPr>
      <dsp:spPr>
        <a:xfrm>
          <a:off x="3615014" y="1333585"/>
          <a:ext cx="2607040" cy="3016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820"/>
              </a:lnTo>
              <a:lnTo>
                <a:pt x="2607040" y="150820"/>
              </a:lnTo>
              <a:lnTo>
                <a:pt x="2607040" y="3016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B91082-DAA5-4455-8D65-0ED964C39D91}">
      <dsp:nvSpPr>
        <dsp:cNvPr id="0" name=""/>
        <dsp:cNvSpPr/>
      </dsp:nvSpPr>
      <dsp:spPr>
        <a:xfrm>
          <a:off x="3615014" y="1333585"/>
          <a:ext cx="869013" cy="3016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820"/>
              </a:lnTo>
              <a:lnTo>
                <a:pt x="869013" y="150820"/>
              </a:lnTo>
              <a:lnTo>
                <a:pt x="869013" y="3016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6B9DEA-AFD2-46FB-9B56-5BEE5337C8B0}">
      <dsp:nvSpPr>
        <dsp:cNvPr id="0" name=""/>
        <dsp:cNvSpPr/>
      </dsp:nvSpPr>
      <dsp:spPr>
        <a:xfrm>
          <a:off x="2746001" y="1333585"/>
          <a:ext cx="869013" cy="301641"/>
        </a:xfrm>
        <a:custGeom>
          <a:avLst/>
          <a:gdLst/>
          <a:ahLst/>
          <a:cxnLst/>
          <a:rect l="0" t="0" r="0" b="0"/>
          <a:pathLst>
            <a:path>
              <a:moveTo>
                <a:pt x="869013" y="0"/>
              </a:moveTo>
              <a:lnTo>
                <a:pt x="869013" y="150820"/>
              </a:lnTo>
              <a:lnTo>
                <a:pt x="0" y="150820"/>
              </a:lnTo>
              <a:lnTo>
                <a:pt x="0" y="3016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00846A-50A2-4757-9AA5-51C942B059B4}">
      <dsp:nvSpPr>
        <dsp:cNvPr id="0" name=""/>
        <dsp:cNvSpPr/>
      </dsp:nvSpPr>
      <dsp:spPr>
        <a:xfrm>
          <a:off x="959683" y="1333585"/>
          <a:ext cx="2655331" cy="277495"/>
        </a:xfrm>
        <a:custGeom>
          <a:avLst/>
          <a:gdLst/>
          <a:ahLst/>
          <a:cxnLst/>
          <a:rect l="0" t="0" r="0" b="0"/>
          <a:pathLst>
            <a:path>
              <a:moveTo>
                <a:pt x="2655331" y="0"/>
              </a:moveTo>
              <a:lnTo>
                <a:pt x="2655331" y="126674"/>
              </a:lnTo>
              <a:lnTo>
                <a:pt x="0" y="126674"/>
              </a:lnTo>
              <a:lnTo>
                <a:pt x="0" y="27749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121588-6D73-466C-928C-DA2E53BB16D7}">
      <dsp:nvSpPr>
        <dsp:cNvPr id="0" name=""/>
        <dsp:cNvSpPr/>
      </dsp:nvSpPr>
      <dsp:spPr>
        <a:xfrm>
          <a:off x="2896821" y="2013"/>
          <a:ext cx="1436385" cy="13315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CO</a:t>
          </a:r>
          <a:br>
            <a:rPr lang="en-US" sz="1800" kern="1200" dirty="0" smtClean="0"/>
          </a:br>
          <a:r>
            <a:rPr lang="en-US" sz="1800" kern="1200" dirty="0" smtClean="0"/>
            <a:t/>
          </a:r>
          <a:br>
            <a:rPr lang="en-US" sz="1800" kern="1200" dirty="0" smtClean="0"/>
          </a:br>
          <a:r>
            <a:rPr lang="en-US" sz="1400" kern="1200" dirty="0" smtClean="0"/>
            <a:t>Ferdinand </a:t>
          </a:r>
          <a:r>
            <a:rPr lang="en-US" sz="1400" kern="1200" dirty="0" err="1" smtClean="0"/>
            <a:t>Kayser</a:t>
          </a:r>
          <a:endParaRPr lang="en-US" sz="1400" kern="1200" dirty="0"/>
        </a:p>
      </dsp:txBody>
      <dsp:txXfrm>
        <a:off x="2896821" y="2013"/>
        <a:ext cx="1436385" cy="1331572"/>
      </dsp:txXfrm>
    </dsp:sp>
    <dsp:sp modelId="{DFE9C45F-66FD-4CBB-9969-FC080DCCC275}">
      <dsp:nvSpPr>
        <dsp:cNvPr id="0" name=""/>
        <dsp:cNvSpPr/>
      </dsp:nvSpPr>
      <dsp:spPr>
        <a:xfrm>
          <a:off x="241490" y="1611081"/>
          <a:ext cx="1436385" cy="13315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ommercial Europe</a:t>
          </a:r>
          <a:br>
            <a:rPr lang="en-US" sz="1800" kern="1200" dirty="0" smtClean="0"/>
          </a:br>
          <a:r>
            <a:rPr lang="en-US" sz="1800" kern="1200" dirty="0" smtClean="0"/>
            <a:t/>
          </a:r>
          <a:br>
            <a:rPr lang="en-US" sz="1800" kern="1200" dirty="0" smtClean="0"/>
          </a:br>
          <a:r>
            <a:rPr lang="en-US" sz="1400" kern="1200" dirty="0" smtClean="0"/>
            <a:t>Norbert </a:t>
          </a:r>
          <a:r>
            <a:rPr lang="en-US" sz="1400" kern="1200" dirty="0" err="1" smtClean="0"/>
            <a:t>Hoelzle</a:t>
          </a:r>
          <a:endParaRPr lang="en-US" sz="1400" kern="1200" dirty="0"/>
        </a:p>
      </dsp:txBody>
      <dsp:txXfrm>
        <a:off x="241490" y="1611081"/>
        <a:ext cx="1436385" cy="1331572"/>
      </dsp:txXfrm>
    </dsp:sp>
    <dsp:sp modelId="{5A948C86-8CC4-42E0-9D5E-66122E847F99}">
      <dsp:nvSpPr>
        <dsp:cNvPr id="0" name=""/>
        <dsp:cNvSpPr/>
      </dsp:nvSpPr>
      <dsp:spPr>
        <a:xfrm>
          <a:off x="2027808" y="1635227"/>
          <a:ext cx="1436385" cy="13315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ommercial Global</a:t>
          </a:r>
          <a:br>
            <a:rPr lang="en-US" sz="1800" kern="1200" dirty="0" smtClean="0"/>
          </a:br>
          <a:r>
            <a:rPr lang="en-US" sz="1800" kern="1200" dirty="0" smtClean="0"/>
            <a:t/>
          </a:r>
          <a:br>
            <a:rPr lang="en-US" sz="1800" kern="1200" dirty="0" smtClean="0"/>
          </a:br>
          <a:r>
            <a:rPr lang="en-US" sz="1400" kern="1200" dirty="0" smtClean="0"/>
            <a:t>Scott Sprague</a:t>
          </a:r>
          <a:endParaRPr lang="en-US" sz="1400" kern="1200" dirty="0"/>
        </a:p>
      </dsp:txBody>
      <dsp:txXfrm>
        <a:off x="2027808" y="1635227"/>
        <a:ext cx="1436385" cy="1331572"/>
      </dsp:txXfrm>
    </dsp:sp>
    <dsp:sp modelId="{869FC7DB-6634-4056-861D-813703BCE7C8}">
      <dsp:nvSpPr>
        <dsp:cNvPr id="0" name=""/>
        <dsp:cNvSpPr/>
      </dsp:nvSpPr>
      <dsp:spPr>
        <a:xfrm>
          <a:off x="3765835" y="1635227"/>
          <a:ext cx="1436385" cy="13315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oduct Development</a:t>
          </a:r>
          <a:br>
            <a:rPr lang="en-US" sz="1800" kern="1200" dirty="0" smtClean="0"/>
          </a:br>
          <a:r>
            <a:rPr lang="en-US" sz="1800" kern="1200" dirty="0" smtClean="0"/>
            <a:t/>
          </a:r>
          <a:br>
            <a:rPr lang="en-US" sz="1800" kern="1200" dirty="0" smtClean="0"/>
          </a:br>
          <a:r>
            <a:rPr lang="en-US" sz="1400" kern="1200" dirty="0" err="1" smtClean="0"/>
            <a:t>Wilfried</a:t>
          </a:r>
          <a:r>
            <a:rPr lang="en-US" sz="1400" kern="1200" dirty="0" smtClean="0"/>
            <a:t> </a:t>
          </a:r>
          <a:r>
            <a:rPr lang="en-US" sz="1400" kern="1200" dirty="0" err="1" smtClean="0"/>
            <a:t>Urner</a:t>
          </a:r>
          <a:endParaRPr lang="en-US" sz="1400" kern="1200" dirty="0"/>
        </a:p>
      </dsp:txBody>
      <dsp:txXfrm>
        <a:off x="3765835" y="1635227"/>
        <a:ext cx="1436385" cy="1331572"/>
      </dsp:txXfrm>
    </dsp:sp>
    <dsp:sp modelId="{47729327-7C6B-4967-BDC5-3860D592C5DC}">
      <dsp:nvSpPr>
        <dsp:cNvPr id="0" name=""/>
        <dsp:cNvSpPr/>
      </dsp:nvSpPr>
      <dsp:spPr>
        <a:xfrm>
          <a:off x="5503861" y="1635227"/>
          <a:ext cx="1436385" cy="13315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arketing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/>
          </a:r>
          <a:br>
            <a:rPr lang="en-US" sz="2400" kern="1200" dirty="0" smtClean="0"/>
          </a:br>
          <a:r>
            <a:rPr lang="en-US" sz="1400" kern="1200" dirty="0" smtClean="0"/>
            <a:t>N. </a:t>
          </a:r>
          <a:r>
            <a:rPr lang="en-US" sz="1400" kern="1200" dirty="0" err="1" smtClean="0"/>
            <a:t>Friese</a:t>
          </a:r>
          <a:r>
            <a:rPr lang="en-US" sz="1400" kern="1200" dirty="0" smtClean="0"/>
            <a:t>-Greene</a:t>
          </a:r>
          <a:endParaRPr lang="en-US" sz="1400" kern="1200" dirty="0"/>
        </a:p>
      </dsp:txBody>
      <dsp:txXfrm>
        <a:off x="5503861" y="1635227"/>
        <a:ext cx="1436385" cy="133157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649641A-AB8D-49EF-BB48-DC89359E97B5}">
      <dsp:nvSpPr>
        <dsp:cNvPr id="0" name=""/>
        <dsp:cNvSpPr/>
      </dsp:nvSpPr>
      <dsp:spPr>
        <a:xfrm>
          <a:off x="4225066" y="2052386"/>
          <a:ext cx="125773" cy="685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5434"/>
              </a:lnTo>
              <a:lnTo>
                <a:pt x="125773" y="6854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FED679-2FF6-4128-AA31-831583977F94}">
      <dsp:nvSpPr>
        <dsp:cNvPr id="0" name=""/>
        <dsp:cNvSpPr/>
      </dsp:nvSpPr>
      <dsp:spPr>
        <a:xfrm>
          <a:off x="4099293" y="2052386"/>
          <a:ext cx="125773" cy="685434"/>
        </a:xfrm>
        <a:custGeom>
          <a:avLst/>
          <a:gdLst/>
          <a:ahLst/>
          <a:cxnLst/>
          <a:rect l="0" t="0" r="0" b="0"/>
          <a:pathLst>
            <a:path>
              <a:moveTo>
                <a:pt x="125773" y="0"/>
              </a:moveTo>
              <a:lnTo>
                <a:pt x="125773" y="685434"/>
              </a:lnTo>
              <a:lnTo>
                <a:pt x="0" y="6854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1206AB-004E-40EA-8ED8-52264F7B664B}">
      <dsp:nvSpPr>
        <dsp:cNvPr id="0" name=""/>
        <dsp:cNvSpPr/>
      </dsp:nvSpPr>
      <dsp:spPr>
        <a:xfrm>
          <a:off x="4225066" y="2052386"/>
          <a:ext cx="3623470" cy="13708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5096"/>
              </a:lnTo>
              <a:lnTo>
                <a:pt x="3623470" y="1245096"/>
              </a:lnTo>
              <a:lnTo>
                <a:pt x="3623470" y="13708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1D309-1092-4AE0-8E1A-D5BAE19DCA8A}">
      <dsp:nvSpPr>
        <dsp:cNvPr id="0" name=""/>
        <dsp:cNvSpPr/>
      </dsp:nvSpPr>
      <dsp:spPr>
        <a:xfrm>
          <a:off x="4225066" y="2052386"/>
          <a:ext cx="2174082" cy="13708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5096"/>
              </a:lnTo>
              <a:lnTo>
                <a:pt x="2174082" y="1245096"/>
              </a:lnTo>
              <a:lnTo>
                <a:pt x="2174082" y="13708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C9B838-5252-493F-8210-59FA71DCA6E2}">
      <dsp:nvSpPr>
        <dsp:cNvPr id="0" name=""/>
        <dsp:cNvSpPr/>
      </dsp:nvSpPr>
      <dsp:spPr>
        <a:xfrm>
          <a:off x="4225066" y="2052386"/>
          <a:ext cx="724694" cy="13708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5096"/>
              </a:lnTo>
              <a:lnTo>
                <a:pt x="724694" y="1245096"/>
              </a:lnTo>
              <a:lnTo>
                <a:pt x="724694" y="13708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CFCF0A-25A5-4503-BB89-4781CE01F0E7}">
      <dsp:nvSpPr>
        <dsp:cNvPr id="0" name=""/>
        <dsp:cNvSpPr/>
      </dsp:nvSpPr>
      <dsp:spPr>
        <a:xfrm>
          <a:off x="3500372" y="2052386"/>
          <a:ext cx="724694" cy="1370869"/>
        </a:xfrm>
        <a:custGeom>
          <a:avLst/>
          <a:gdLst/>
          <a:ahLst/>
          <a:cxnLst/>
          <a:rect l="0" t="0" r="0" b="0"/>
          <a:pathLst>
            <a:path>
              <a:moveTo>
                <a:pt x="724694" y="0"/>
              </a:moveTo>
              <a:lnTo>
                <a:pt x="724694" y="1245096"/>
              </a:lnTo>
              <a:lnTo>
                <a:pt x="0" y="1245096"/>
              </a:lnTo>
              <a:lnTo>
                <a:pt x="0" y="13708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A13D41-765B-4D93-844D-CC16E30F05EA}">
      <dsp:nvSpPr>
        <dsp:cNvPr id="0" name=""/>
        <dsp:cNvSpPr/>
      </dsp:nvSpPr>
      <dsp:spPr>
        <a:xfrm>
          <a:off x="2050984" y="2052386"/>
          <a:ext cx="2174082" cy="1370869"/>
        </a:xfrm>
        <a:custGeom>
          <a:avLst/>
          <a:gdLst/>
          <a:ahLst/>
          <a:cxnLst/>
          <a:rect l="0" t="0" r="0" b="0"/>
          <a:pathLst>
            <a:path>
              <a:moveTo>
                <a:pt x="2174082" y="0"/>
              </a:moveTo>
              <a:lnTo>
                <a:pt x="2174082" y="1245096"/>
              </a:lnTo>
              <a:lnTo>
                <a:pt x="0" y="1245096"/>
              </a:lnTo>
              <a:lnTo>
                <a:pt x="0" y="13708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6A8FD6-EBA2-425B-A78F-8EF5181173A9}">
      <dsp:nvSpPr>
        <dsp:cNvPr id="0" name=""/>
        <dsp:cNvSpPr/>
      </dsp:nvSpPr>
      <dsp:spPr>
        <a:xfrm>
          <a:off x="599008" y="2052386"/>
          <a:ext cx="3626057" cy="1339030"/>
        </a:xfrm>
        <a:custGeom>
          <a:avLst/>
          <a:gdLst/>
          <a:ahLst/>
          <a:cxnLst/>
          <a:rect l="0" t="0" r="0" b="0"/>
          <a:pathLst>
            <a:path>
              <a:moveTo>
                <a:pt x="3626057" y="0"/>
              </a:moveTo>
              <a:lnTo>
                <a:pt x="3626057" y="1213257"/>
              </a:lnTo>
              <a:lnTo>
                <a:pt x="0" y="1213257"/>
              </a:lnTo>
              <a:lnTo>
                <a:pt x="0" y="133903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4AF0DD-8C8D-4068-8B21-DB050E42C239}">
      <dsp:nvSpPr>
        <dsp:cNvPr id="0" name=""/>
        <dsp:cNvSpPr/>
      </dsp:nvSpPr>
      <dsp:spPr>
        <a:xfrm>
          <a:off x="3626145" y="626954"/>
          <a:ext cx="1197841" cy="14254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CO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/>
          </a:r>
          <a:br>
            <a:rPr lang="en-US" sz="1400" kern="1200" dirty="0" smtClean="0"/>
          </a:br>
          <a:r>
            <a:rPr lang="en-US" sz="1200" kern="1200" dirty="0" smtClean="0"/>
            <a:t>Ferdinand </a:t>
          </a:r>
          <a:r>
            <a:rPr lang="en-US" sz="1200" kern="1200" dirty="0" err="1" smtClean="0"/>
            <a:t>Kayser</a:t>
          </a:r>
          <a:endParaRPr lang="en-US" sz="1200" kern="1200" dirty="0"/>
        </a:p>
      </dsp:txBody>
      <dsp:txXfrm>
        <a:off x="3626145" y="626954"/>
        <a:ext cx="1197841" cy="1425431"/>
      </dsp:txXfrm>
    </dsp:sp>
    <dsp:sp modelId="{52F3F4D1-2C17-40A3-BB38-4103BC39E648}">
      <dsp:nvSpPr>
        <dsp:cNvPr id="0" name=""/>
        <dsp:cNvSpPr/>
      </dsp:nvSpPr>
      <dsp:spPr>
        <a:xfrm>
          <a:off x="88" y="3391417"/>
          <a:ext cx="1197841" cy="14254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ommercial Europ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 smtClean="0"/>
            <a:t>Ferenc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zelényi</a:t>
          </a:r>
          <a:endParaRPr lang="en-US" sz="1200" kern="1200" dirty="0"/>
        </a:p>
      </dsp:txBody>
      <dsp:txXfrm>
        <a:off x="88" y="3391417"/>
        <a:ext cx="1197841" cy="1425431"/>
      </dsp:txXfrm>
    </dsp:sp>
    <dsp:sp modelId="{0A7730DA-2F35-40A0-8CF0-DF52B5751B86}">
      <dsp:nvSpPr>
        <dsp:cNvPr id="0" name=""/>
        <dsp:cNvSpPr/>
      </dsp:nvSpPr>
      <dsp:spPr>
        <a:xfrm>
          <a:off x="1452063" y="3423255"/>
          <a:ext cx="1197841" cy="14254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ommercial America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Elias </a:t>
          </a:r>
          <a:r>
            <a:rPr lang="en-US" sz="1200" kern="1200" dirty="0" err="1" smtClean="0"/>
            <a:t>Zaccack</a:t>
          </a:r>
          <a:endParaRPr lang="en-US" sz="1200" kern="1200" dirty="0"/>
        </a:p>
      </dsp:txBody>
      <dsp:txXfrm>
        <a:off x="1452063" y="3423255"/>
        <a:ext cx="1197841" cy="1425431"/>
      </dsp:txXfrm>
    </dsp:sp>
    <dsp:sp modelId="{C5F933B0-21BA-4861-971A-95BD08C6E080}">
      <dsp:nvSpPr>
        <dsp:cNvPr id="0" name=""/>
        <dsp:cNvSpPr/>
      </dsp:nvSpPr>
      <dsp:spPr>
        <a:xfrm>
          <a:off x="2901451" y="3423255"/>
          <a:ext cx="1197841" cy="14254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ommercial Afric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err="1" smtClean="0"/>
            <a:t>Ibrahim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Guimba-Saidou</a:t>
          </a:r>
          <a:endParaRPr lang="en-US" sz="1200" kern="1200" dirty="0"/>
        </a:p>
      </dsp:txBody>
      <dsp:txXfrm>
        <a:off x="2901451" y="3423255"/>
        <a:ext cx="1197841" cy="1425431"/>
      </dsp:txXfrm>
    </dsp:sp>
    <dsp:sp modelId="{947849E2-FCC1-4BAA-8346-67F8F63DDBD7}">
      <dsp:nvSpPr>
        <dsp:cNvPr id="0" name=""/>
        <dsp:cNvSpPr/>
      </dsp:nvSpPr>
      <dsp:spPr>
        <a:xfrm>
          <a:off x="4350839" y="3423255"/>
          <a:ext cx="1197841" cy="14254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ommercial </a:t>
          </a:r>
          <a:br>
            <a:rPr lang="en-US" sz="1200" kern="1200" dirty="0" smtClean="0"/>
          </a:br>
          <a:r>
            <a:rPr lang="en-US" sz="1200" kern="1200" dirty="0" smtClean="0"/>
            <a:t>Asi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Deepak </a:t>
          </a:r>
          <a:r>
            <a:rPr lang="en-US" sz="1200" kern="1200" dirty="0" err="1" smtClean="0"/>
            <a:t>Mathur</a:t>
          </a:r>
          <a:endParaRPr lang="en-US" sz="1200" kern="1200" dirty="0"/>
        </a:p>
      </dsp:txBody>
      <dsp:txXfrm>
        <a:off x="4350839" y="3423255"/>
        <a:ext cx="1197841" cy="1425431"/>
      </dsp:txXfrm>
    </dsp:sp>
    <dsp:sp modelId="{68A03C29-C904-4B5F-B245-FE371F42DA2A}">
      <dsp:nvSpPr>
        <dsp:cNvPr id="0" name=""/>
        <dsp:cNvSpPr/>
      </dsp:nvSpPr>
      <dsp:spPr>
        <a:xfrm>
          <a:off x="5800227" y="3423255"/>
          <a:ext cx="1197841" cy="14254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Product Development </a:t>
          </a:r>
          <a:br>
            <a:rPr lang="en-US" sz="1200" kern="1200" dirty="0" smtClean="0"/>
          </a:br>
          <a:r>
            <a:rPr lang="en-US" sz="1200" kern="1200" dirty="0" smtClean="0"/>
            <a:t>&amp; Solutions </a:t>
          </a:r>
          <a:br>
            <a:rPr lang="en-US" sz="1200" kern="1200" dirty="0" smtClean="0"/>
          </a:br>
          <a:r>
            <a:rPr lang="en-US" sz="1200" kern="1200" dirty="0" smtClean="0"/>
            <a:t>(incl. </a:t>
          </a:r>
          <a:r>
            <a:rPr lang="en-US" sz="1200" kern="1200" dirty="0" err="1" smtClean="0"/>
            <a:t>TechCom</a:t>
          </a:r>
          <a:r>
            <a:rPr lang="en-US" sz="1200" kern="1200" dirty="0" smtClean="0"/>
            <a:t>)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 smtClean="0"/>
            <a:t>Wilfried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Urner</a:t>
          </a:r>
          <a:endParaRPr lang="en-US" sz="1200" kern="1200" dirty="0"/>
        </a:p>
      </dsp:txBody>
      <dsp:txXfrm>
        <a:off x="5800227" y="3423255"/>
        <a:ext cx="1197841" cy="1425431"/>
      </dsp:txXfrm>
    </dsp:sp>
    <dsp:sp modelId="{883BFE8A-0CA4-4A2D-BAEC-908118206845}">
      <dsp:nvSpPr>
        <dsp:cNvPr id="0" name=""/>
        <dsp:cNvSpPr/>
      </dsp:nvSpPr>
      <dsp:spPr>
        <a:xfrm>
          <a:off x="7249616" y="3423255"/>
          <a:ext cx="1197841" cy="14254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Marketing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err="1" smtClean="0"/>
            <a:t>Nicla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Friese</a:t>
          </a:r>
          <a:r>
            <a:rPr lang="en-US" sz="1200" kern="1200" dirty="0" smtClean="0"/>
            <a:t>-Greene</a:t>
          </a:r>
          <a:endParaRPr lang="en-US" sz="1200" kern="1200" dirty="0"/>
        </a:p>
      </dsp:txBody>
      <dsp:txXfrm>
        <a:off x="7249616" y="3423255"/>
        <a:ext cx="1197841" cy="1425431"/>
      </dsp:txXfrm>
    </dsp:sp>
    <dsp:sp modelId="{D17059A9-6644-4650-90DB-2C1E0EBBF16D}">
      <dsp:nvSpPr>
        <dsp:cNvPr id="0" name=""/>
        <dsp:cNvSpPr/>
      </dsp:nvSpPr>
      <dsp:spPr>
        <a:xfrm>
          <a:off x="2204068" y="2303932"/>
          <a:ext cx="1895224" cy="8677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ales Engineering  </a:t>
          </a:r>
          <a:br>
            <a:rPr lang="en-US" sz="1200" kern="1200" dirty="0" smtClean="0"/>
          </a:br>
          <a:r>
            <a:rPr lang="en-US" sz="1200" kern="1200" dirty="0" smtClean="0"/>
            <a:t>Global CAM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Acting: Ferdinand </a:t>
          </a:r>
          <a:r>
            <a:rPr lang="en-US" sz="1200" kern="1200" dirty="0" err="1" smtClean="0"/>
            <a:t>Kayser</a:t>
          </a:r>
          <a:endParaRPr lang="en-US" sz="1200" kern="1200" dirty="0"/>
        </a:p>
      </dsp:txBody>
      <dsp:txXfrm>
        <a:off x="2204068" y="2303932"/>
        <a:ext cx="1895224" cy="867776"/>
      </dsp:txXfrm>
    </dsp:sp>
    <dsp:sp modelId="{B817EA42-5BAC-4838-B8C6-C3D435AC1253}">
      <dsp:nvSpPr>
        <dsp:cNvPr id="0" name=""/>
        <dsp:cNvSpPr/>
      </dsp:nvSpPr>
      <dsp:spPr>
        <a:xfrm>
          <a:off x="4350839" y="2303932"/>
          <a:ext cx="1879449" cy="8677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ales Planning and Operation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err="1" smtClean="0"/>
            <a:t>Sybren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Vries</a:t>
          </a:r>
          <a:endParaRPr lang="en-US" sz="1200" kern="1200" dirty="0"/>
        </a:p>
      </dsp:txBody>
      <dsp:txXfrm>
        <a:off x="4350839" y="2303932"/>
        <a:ext cx="1879449" cy="867776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BEC1C4A-0695-408A-B593-0938A1E283F2}">
      <dsp:nvSpPr>
        <dsp:cNvPr id="0" name=""/>
        <dsp:cNvSpPr/>
      </dsp:nvSpPr>
      <dsp:spPr>
        <a:xfrm>
          <a:off x="4182035" y="2522632"/>
          <a:ext cx="3673817" cy="2125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267"/>
              </a:lnTo>
              <a:lnTo>
                <a:pt x="3673817" y="106267"/>
              </a:lnTo>
              <a:lnTo>
                <a:pt x="3673817" y="2125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1206AB-004E-40EA-8ED8-52264F7B664B}">
      <dsp:nvSpPr>
        <dsp:cNvPr id="0" name=""/>
        <dsp:cNvSpPr/>
      </dsp:nvSpPr>
      <dsp:spPr>
        <a:xfrm>
          <a:off x="4182035" y="2522632"/>
          <a:ext cx="2449211" cy="2125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267"/>
              </a:lnTo>
              <a:lnTo>
                <a:pt x="2449211" y="106267"/>
              </a:lnTo>
              <a:lnTo>
                <a:pt x="2449211" y="2125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1D309-1092-4AE0-8E1A-D5BAE19DCA8A}">
      <dsp:nvSpPr>
        <dsp:cNvPr id="0" name=""/>
        <dsp:cNvSpPr/>
      </dsp:nvSpPr>
      <dsp:spPr>
        <a:xfrm>
          <a:off x="4182035" y="2522632"/>
          <a:ext cx="1224605" cy="2125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267"/>
              </a:lnTo>
              <a:lnTo>
                <a:pt x="1224605" y="106267"/>
              </a:lnTo>
              <a:lnTo>
                <a:pt x="1224605" y="2125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C9B838-5252-493F-8210-59FA71DCA6E2}">
      <dsp:nvSpPr>
        <dsp:cNvPr id="0" name=""/>
        <dsp:cNvSpPr/>
      </dsp:nvSpPr>
      <dsp:spPr>
        <a:xfrm>
          <a:off x="4136315" y="2522632"/>
          <a:ext cx="91440" cy="21253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25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D78961-646E-4D49-9A0F-C068D6B67498}">
      <dsp:nvSpPr>
        <dsp:cNvPr id="0" name=""/>
        <dsp:cNvSpPr/>
      </dsp:nvSpPr>
      <dsp:spPr>
        <a:xfrm>
          <a:off x="2957429" y="2522632"/>
          <a:ext cx="1224605" cy="212534"/>
        </a:xfrm>
        <a:custGeom>
          <a:avLst/>
          <a:gdLst/>
          <a:ahLst/>
          <a:cxnLst/>
          <a:rect l="0" t="0" r="0" b="0"/>
          <a:pathLst>
            <a:path>
              <a:moveTo>
                <a:pt x="1224605" y="0"/>
              </a:moveTo>
              <a:lnTo>
                <a:pt x="1224605" y="106267"/>
              </a:lnTo>
              <a:lnTo>
                <a:pt x="0" y="106267"/>
              </a:lnTo>
              <a:lnTo>
                <a:pt x="0" y="2125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CFCF0A-25A5-4503-BB89-4781CE01F0E7}">
      <dsp:nvSpPr>
        <dsp:cNvPr id="0" name=""/>
        <dsp:cNvSpPr/>
      </dsp:nvSpPr>
      <dsp:spPr>
        <a:xfrm>
          <a:off x="1732823" y="2522632"/>
          <a:ext cx="2449211" cy="212534"/>
        </a:xfrm>
        <a:custGeom>
          <a:avLst/>
          <a:gdLst/>
          <a:ahLst/>
          <a:cxnLst/>
          <a:rect l="0" t="0" r="0" b="0"/>
          <a:pathLst>
            <a:path>
              <a:moveTo>
                <a:pt x="2449211" y="0"/>
              </a:moveTo>
              <a:lnTo>
                <a:pt x="2449211" y="106267"/>
              </a:lnTo>
              <a:lnTo>
                <a:pt x="0" y="106267"/>
              </a:lnTo>
              <a:lnTo>
                <a:pt x="0" y="2125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6A8FD6-EBA2-425B-A78F-8EF5181173A9}">
      <dsp:nvSpPr>
        <dsp:cNvPr id="0" name=""/>
        <dsp:cNvSpPr/>
      </dsp:nvSpPr>
      <dsp:spPr>
        <a:xfrm>
          <a:off x="508217" y="2522632"/>
          <a:ext cx="3673817" cy="212534"/>
        </a:xfrm>
        <a:custGeom>
          <a:avLst/>
          <a:gdLst/>
          <a:ahLst/>
          <a:cxnLst/>
          <a:rect l="0" t="0" r="0" b="0"/>
          <a:pathLst>
            <a:path>
              <a:moveTo>
                <a:pt x="3673817" y="0"/>
              </a:moveTo>
              <a:lnTo>
                <a:pt x="3673817" y="106267"/>
              </a:lnTo>
              <a:lnTo>
                <a:pt x="0" y="106267"/>
              </a:lnTo>
              <a:lnTo>
                <a:pt x="0" y="2125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4AF0DD-8C8D-4068-8B21-DB050E42C239}">
      <dsp:nvSpPr>
        <dsp:cNvPr id="0" name=""/>
        <dsp:cNvSpPr/>
      </dsp:nvSpPr>
      <dsp:spPr>
        <a:xfrm>
          <a:off x="3676000" y="1318267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DO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 smtClean="0"/>
            <a:t>Gerson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outo</a:t>
          </a:r>
          <a:endParaRPr lang="en-US" sz="1200" kern="1200" dirty="0"/>
        </a:p>
      </dsp:txBody>
      <dsp:txXfrm>
        <a:off x="3676000" y="1318267"/>
        <a:ext cx="1012070" cy="1204364"/>
      </dsp:txXfrm>
    </dsp:sp>
    <dsp:sp modelId="{52F3F4D1-2C17-40A3-BB38-4103BC39E648}">
      <dsp:nvSpPr>
        <dsp:cNvPr id="0" name=""/>
        <dsp:cNvSpPr/>
      </dsp:nvSpPr>
      <dsp:spPr>
        <a:xfrm>
          <a:off x="2182" y="2735166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Corporate Development</a:t>
          </a: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>Christophe de </a:t>
          </a:r>
          <a:r>
            <a:rPr lang="en-US" sz="1000" kern="1200" dirty="0" err="1" smtClean="0"/>
            <a:t>Hauwer</a:t>
          </a:r>
          <a:endParaRPr lang="en-US" sz="1000" kern="1200" dirty="0"/>
        </a:p>
      </dsp:txBody>
      <dsp:txXfrm>
        <a:off x="2182" y="2735166"/>
        <a:ext cx="1012070" cy="1204364"/>
      </dsp:txXfrm>
    </dsp:sp>
    <dsp:sp modelId="{C5F933B0-21BA-4861-971A-95BD08C6E080}">
      <dsp:nvSpPr>
        <dsp:cNvPr id="0" name=""/>
        <dsp:cNvSpPr/>
      </dsp:nvSpPr>
      <dsp:spPr>
        <a:xfrm>
          <a:off x="1226788" y="2735166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Product Diversification</a:t>
          </a: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>Jean-Luc </a:t>
          </a:r>
          <a:r>
            <a:rPr lang="en-US" sz="1000" kern="1200" dirty="0" err="1" smtClean="0"/>
            <a:t>Gustin</a:t>
          </a:r>
          <a:endParaRPr lang="en-US" sz="1000" kern="1200" dirty="0"/>
        </a:p>
      </dsp:txBody>
      <dsp:txXfrm>
        <a:off x="1226788" y="2735166"/>
        <a:ext cx="1012070" cy="1204364"/>
      </dsp:txXfrm>
    </dsp:sp>
    <dsp:sp modelId="{90661963-D149-4BC7-BB94-6837BE3D5342}">
      <dsp:nvSpPr>
        <dsp:cNvPr id="0" name=""/>
        <dsp:cNvSpPr/>
      </dsp:nvSpPr>
      <dsp:spPr>
        <a:xfrm>
          <a:off x="2451394" y="2735166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Spectrum Management</a:t>
          </a:r>
          <a:br>
            <a:rPr lang="en-US" sz="1200" kern="1200" dirty="0" smtClean="0"/>
          </a:br>
          <a:r>
            <a:rPr lang="en-US" sz="1200" kern="1200" dirty="0" smtClean="0"/>
            <a:t>&amp; Development</a:t>
          </a:r>
          <a:br>
            <a:rPr lang="en-US" sz="1200" kern="1200" dirty="0" smtClean="0"/>
          </a:br>
          <a:r>
            <a:rPr lang="en-US" sz="1300" kern="1200" dirty="0" smtClean="0"/>
            <a:t/>
          </a:r>
          <a:br>
            <a:rPr lang="en-US" sz="1300" kern="1200" dirty="0" smtClean="0"/>
          </a:br>
          <a:r>
            <a:rPr lang="en-US" sz="1000" kern="1200" dirty="0" smtClean="0"/>
            <a:t>vacant</a:t>
          </a:r>
          <a:endParaRPr lang="en-US" sz="1000" kern="1200" dirty="0"/>
        </a:p>
      </dsp:txBody>
      <dsp:txXfrm>
        <a:off x="2451394" y="2735166"/>
        <a:ext cx="1012070" cy="1204364"/>
      </dsp:txXfrm>
    </dsp:sp>
    <dsp:sp modelId="{947849E2-FCC1-4BAA-8346-67F8F63DDBD7}">
      <dsp:nvSpPr>
        <dsp:cNvPr id="0" name=""/>
        <dsp:cNvSpPr/>
      </dsp:nvSpPr>
      <dsp:spPr>
        <a:xfrm>
          <a:off x="3676000" y="2735166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Fleet Development &amp; Yield Management</a:t>
          </a:r>
          <a:br>
            <a:rPr lang="en-US" sz="1200" kern="1200" dirty="0" smtClean="0"/>
          </a:b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000" kern="1200" dirty="0" smtClean="0"/>
            <a:t>Nicolas </a:t>
          </a:r>
          <a:r>
            <a:rPr lang="en-US" sz="1000" kern="1200" dirty="0" err="1" smtClean="0"/>
            <a:t>Boudier</a:t>
          </a:r>
          <a:endParaRPr lang="en-US" sz="1000" kern="1200" dirty="0"/>
        </a:p>
      </dsp:txBody>
      <dsp:txXfrm>
        <a:off x="3676000" y="2735166"/>
        <a:ext cx="1012070" cy="1204364"/>
      </dsp:txXfrm>
    </dsp:sp>
    <dsp:sp modelId="{68A03C29-C904-4B5F-B245-FE371F42DA2A}">
      <dsp:nvSpPr>
        <dsp:cNvPr id="0" name=""/>
        <dsp:cNvSpPr/>
      </dsp:nvSpPr>
      <dsp:spPr>
        <a:xfrm>
          <a:off x="4900605" y="2735166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Regional Business Development Americas</a:t>
          </a:r>
          <a:br>
            <a:rPr lang="en-US" sz="1200" kern="1200" dirty="0" smtClean="0"/>
          </a:b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000" kern="1200" dirty="0" err="1" smtClean="0"/>
            <a:t>Sergy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Mummert</a:t>
          </a:r>
          <a:endParaRPr lang="en-US" sz="1000" kern="1200" dirty="0"/>
        </a:p>
      </dsp:txBody>
      <dsp:txXfrm>
        <a:off x="4900605" y="2735166"/>
        <a:ext cx="1012070" cy="1204364"/>
      </dsp:txXfrm>
    </dsp:sp>
    <dsp:sp modelId="{883BFE8A-0CA4-4A2D-BAEC-908118206845}">
      <dsp:nvSpPr>
        <dsp:cNvPr id="0" name=""/>
        <dsp:cNvSpPr/>
      </dsp:nvSpPr>
      <dsp:spPr>
        <a:xfrm>
          <a:off x="6125211" y="2735166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200" kern="1200" dirty="0" smtClean="0"/>
            <a:t>Regional Business Development EMEA</a:t>
          </a:r>
          <a:br>
            <a:rPr lang="en-US" sz="1200" kern="1200" dirty="0" smtClean="0"/>
          </a:b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000" kern="1200" dirty="0" smtClean="0"/>
            <a:t>Daniel </a:t>
          </a:r>
          <a:r>
            <a:rPr lang="en-US" sz="1000" kern="1200" dirty="0" err="1" smtClean="0"/>
            <a:t>Biedermann</a:t>
          </a:r>
          <a:endParaRPr lang="en-US" sz="1000" kern="1200" dirty="0"/>
        </a:p>
      </dsp:txBody>
      <dsp:txXfrm>
        <a:off x="6125211" y="2735166"/>
        <a:ext cx="1012070" cy="1204364"/>
      </dsp:txXfrm>
    </dsp:sp>
    <dsp:sp modelId="{EADB63DC-AE97-4FF1-B88B-F61277605997}">
      <dsp:nvSpPr>
        <dsp:cNvPr id="0" name=""/>
        <dsp:cNvSpPr/>
      </dsp:nvSpPr>
      <dsp:spPr>
        <a:xfrm>
          <a:off x="7349817" y="2735166"/>
          <a:ext cx="1012070" cy="120436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Regional Business Development Asia Pacific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>Elias </a:t>
          </a:r>
          <a:r>
            <a:rPr lang="en-US" sz="1000" kern="1200" dirty="0" err="1" smtClean="0"/>
            <a:t>Zaccack</a:t>
          </a:r>
          <a:endParaRPr lang="en-US" sz="1000" kern="1200" dirty="0"/>
        </a:p>
      </dsp:txBody>
      <dsp:txXfrm>
        <a:off x="7349817" y="2735166"/>
        <a:ext cx="1012070" cy="1204364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DDBA207-2503-44A5-A20B-28627A185ED2}">
      <dsp:nvSpPr>
        <dsp:cNvPr id="0" name=""/>
        <dsp:cNvSpPr/>
      </dsp:nvSpPr>
      <dsp:spPr>
        <a:xfrm>
          <a:off x="4329953" y="2525596"/>
          <a:ext cx="3803760" cy="2200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026"/>
              </a:lnTo>
              <a:lnTo>
                <a:pt x="3803760" y="110026"/>
              </a:lnTo>
              <a:lnTo>
                <a:pt x="3803760" y="2200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EC1C4A-0695-408A-B593-0938A1E283F2}">
      <dsp:nvSpPr>
        <dsp:cNvPr id="0" name=""/>
        <dsp:cNvSpPr/>
      </dsp:nvSpPr>
      <dsp:spPr>
        <a:xfrm>
          <a:off x="4329953" y="2525596"/>
          <a:ext cx="2535840" cy="2200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026"/>
              </a:lnTo>
              <a:lnTo>
                <a:pt x="2535840" y="110026"/>
              </a:lnTo>
              <a:lnTo>
                <a:pt x="2535840" y="2200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1206AB-004E-40EA-8ED8-52264F7B664B}">
      <dsp:nvSpPr>
        <dsp:cNvPr id="0" name=""/>
        <dsp:cNvSpPr/>
      </dsp:nvSpPr>
      <dsp:spPr>
        <a:xfrm>
          <a:off x="4329953" y="2525596"/>
          <a:ext cx="1267920" cy="2200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026"/>
              </a:lnTo>
              <a:lnTo>
                <a:pt x="1267920" y="110026"/>
              </a:lnTo>
              <a:lnTo>
                <a:pt x="1267920" y="2200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1D309-1092-4AE0-8E1A-D5BAE19DCA8A}">
      <dsp:nvSpPr>
        <dsp:cNvPr id="0" name=""/>
        <dsp:cNvSpPr/>
      </dsp:nvSpPr>
      <dsp:spPr>
        <a:xfrm>
          <a:off x="4284233" y="2525596"/>
          <a:ext cx="91440" cy="2200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00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C9B838-5252-493F-8210-59FA71DCA6E2}">
      <dsp:nvSpPr>
        <dsp:cNvPr id="0" name=""/>
        <dsp:cNvSpPr/>
      </dsp:nvSpPr>
      <dsp:spPr>
        <a:xfrm>
          <a:off x="3062033" y="2525596"/>
          <a:ext cx="1267920" cy="220052"/>
        </a:xfrm>
        <a:custGeom>
          <a:avLst/>
          <a:gdLst/>
          <a:ahLst/>
          <a:cxnLst/>
          <a:rect l="0" t="0" r="0" b="0"/>
          <a:pathLst>
            <a:path>
              <a:moveTo>
                <a:pt x="1267920" y="0"/>
              </a:moveTo>
              <a:lnTo>
                <a:pt x="1267920" y="110026"/>
              </a:lnTo>
              <a:lnTo>
                <a:pt x="0" y="110026"/>
              </a:lnTo>
              <a:lnTo>
                <a:pt x="0" y="2200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CFCF0A-25A5-4503-BB89-4781CE01F0E7}">
      <dsp:nvSpPr>
        <dsp:cNvPr id="0" name=""/>
        <dsp:cNvSpPr/>
      </dsp:nvSpPr>
      <dsp:spPr>
        <a:xfrm>
          <a:off x="1794113" y="2525596"/>
          <a:ext cx="2535840" cy="220052"/>
        </a:xfrm>
        <a:custGeom>
          <a:avLst/>
          <a:gdLst/>
          <a:ahLst/>
          <a:cxnLst/>
          <a:rect l="0" t="0" r="0" b="0"/>
          <a:pathLst>
            <a:path>
              <a:moveTo>
                <a:pt x="2535840" y="0"/>
              </a:moveTo>
              <a:lnTo>
                <a:pt x="2535840" y="110026"/>
              </a:lnTo>
              <a:lnTo>
                <a:pt x="0" y="110026"/>
              </a:lnTo>
              <a:lnTo>
                <a:pt x="0" y="2200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6A8FD6-EBA2-425B-A78F-8EF5181173A9}">
      <dsp:nvSpPr>
        <dsp:cNvPr id="0" name=""/>
        <dsp:cNvSpPr/>
      </dsp:nvSpPr>
      <dsp:spPr>
        <a:xfrm>
          <a:off x="526193" y="2525596"/>
          <a:ext cx="3803760" cy="220052"/>
        </a:xfrm>
        <a:custGeom>
          <a:avLst/>
          <a:gdLst/>
          <a:ahLst/>
          <a:cxnLst/>
          <a:rect l="0" t="0" r="0" b="0"/>
          <a:pathLst>
            <a:path>
              <a:moveTo>
                <a:pt x="3803760" y="0"/>
              </a:moveTo>
              <a:lnTo>
                <a:pt x="3803760" y="110026"/>
              </a:lnTo>
              <a:lnTo>
                <a:pt x="0" y="110026"/>
              </a:lnTo>
              <a:lnTo>
                <a:pt x="0" y="2200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4AF0DD-8C8D-4068-8B21-DB050E42C239}">
      <dsp:nvSpPr>
        <dsp:cNvPr id="0" name=""/>
        <dsp:cNvSpPr/>
      </dsp:nvSpPr>
      <dsp:spPr>
        <a:xfrm>
          <a:off x="3806019" y="1278634"/>
          <a:ext cx="1047867" cy="12469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DO</a:t>
          </a:r>
          <a:br>
            <a:rPr lang="en-US" sz="1400" kern="1200" dirty="0" smtClean="0"/>
          </a:br>
          <a:r>
            <a:rPr lang="en-US" sz="1200" kern="1200" dirty="0" err="1" smtClean="0"/>
            <a:t>Gerson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outo</a:t>
          </a:r>
          <a:endParaRPr lang="en-US" sz="1200" kern="1200" dirty="0"/>
        </a:p>
      </dsp:txBody>
      <dsp:txXfrm>
        <a:off x="3806019" y="1278634"/>
        <a:ext cx="1047867" cy="1246962"/>
      </dsp:txXfrm>
    </dsp:sp>
    <dsp:sp modelId="{52F3F4D1-2C17-40A3-BB38-4103BC39E648}">
      <dsp:nvSpPr>
        <dsp:cNvPr id="0" name=""/>
        <dsp:cNvSpPr/>
      </dsp:nvSpPr>
      <dsp:spPr>
        <a:xfrm>
          <a:off x="2259" y="2745649"/>
          <a:ext cx="1047867" cy="12469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orporate Development</a:t>
          </a:r>
          <a:br>
            <a:rPr lang="en-US" sz="12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>Christophe de </a:t>
          </a:r>
          <a:r>
            <a:rPr lang="en-US" sz="1000" kern="1200" dirty="0" err="1" smtClean="0"/>
            <a:t>Hauwer</a:t>
          </a:r>
          <a:endParaRPr lang="en-US" sz="1000" kern="1200" dirty="0"/>
        </a:p>
      </dsp:txBody>
      <dsp:txXfrm>
        <a:off x="2259" y="2745649"/>
        <a:ext cx="1047867" cy="1246962"/>
      </dsp:txXfrm>
    </dsp:sp>
    <dsp:sp modelId="{C5F933B0-21BA-4861-971A-95BD08C6E080}">
      <dsp:nvSpPr>
        <dsp:cNvPr id="0" name=""/>
        <dsp:cNvSpPr/>
      </dsp:nvSpPr>
      <dsp:spPr>
        <a:xfrm>
          <a:off x="1270179" y="2745649"/>
          <a:ext cx="1047867" cy="12469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pectrum Management</a:t>
          </a:r>
          <a:br>
            <a:rPr lang="en-US" sz="1200" kern="1200" dirty="0" smtClean="0"/>
          </a:br>
          <a:r>
            <a:rPr lang="en-US" sz="1200" kern="1200" dirty="0" smtClean="0"/>
            <a:t>&amp; Development</a:t>
          </a:r>
          <a:br>
            <a:rPr lang="en-US" sz="1200" kern="1200" dirty="0" smtClean="0"/>
          </a:b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000" kern="1200" dirty="0" smtClean="0"/>
            <a:t>Eric </a:t>
          </a:r>
          <a:r>
            <a:rPr lang="en-US" sz="1000" kern="1200" dirty="0" err="1" smtClean="0"/>
            <a:t>Lamby</a:t>
          </a:r>
          <a:endParaRPr lang="en-US" sz="1000" kern="1200" dirty="0"/>
        </a:p>
      </dsp:txBody>
      <dsp:txXfrm>
        <a:off x="1270179" y="2745649"/>
        <a:ext cx="1047867" cy="1246962"/>
      </dsp:txXfrm>
    </dsp:sp>
    <dsp:sp modelId="{947849E2-FCC1-4BAA-8346-67F8F63DDBD7}">
      <dsp:nvSpPr>
        <dsp:cNvPr id="0" name=""/>
        <dsp:cNvSpPr/>
      </dsp:nvSpPr>
      <dsp:spPr>
        <a:xfrm>
          <a:off x="2538099" y="2745649"/>
          <a:ext cx="1047867" cy="12469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Fleet Development </a:t>
          </a:r>
          <a:br>
            <a:rPr lang="en-US" sz="1200" kern="1200" dirty="0" smtClean="0"/>
          </a:br>
          <a:r>
            <a:rPr lang="en-US" sz="1200" kern="1200" dirty="0" smtClean="0"/>
            <a:t>&amp; </a:t>
          </a:r>
          <a:br>
            <a:rPr lang="en-US" sz="1200" kern="1200" dirty="0" smtClean="0"/>
          </a:br>
          <a:r>
            <a:rPr lang="en-US" sz="1200" kern="1200" dirty="0" smtClean="0"/>
            <a:t>Yield Management</a:t>
          </a:r>
          <a:br>
            <a:rPr lang="en-US" sz="1200" kern="1200" dirty="0" smtClean="0"/>
          </a:b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000" kern="1200" dirty="0" smtClean="0"/>
            <a:t>Nicolas </a:t>
          </a:r>
          <a:r>
            <a:rPr lang="en-US" sz="1000" kern="1200" dirty="0" err="1" smtClean="0"/>
            <a:t>Boudier</a:t>
          </a:r>
          <a:endParaRPr lang="en-US" sz="1000" kern="1200" dirty="0"/>
        </a:p>
      </dsp:txBody>
      <dsp:txXfrm>
        <a:off x="2538099" y="2745649"/>
        <a:ext cx="1047867" cy="1246962"/>
      </dsp:txXfrm>
    </dsp:sp>
    <dsp:sp modelId="{68A03C29-C904-4B5F-B245-FE371F42DA2A}">
      <dsp:nvSpPr>
        <dsp:cNvPr id="0" name=""/>
        <dsp:cNvSpPr/>
      </dsp:nvSpPr>
      <dsp:spPr>
        <a:xfrm>
          <a:off x="3806019" y="2745649"/>
          <a:ext cx="1047867" cy="12469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Regional Business Development America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US" sz="1000" kern="1200" dirty="0" err="1" smtClean="0"/>
            <a:t>Sergy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Mummert</a:t>
          </a:r>
          <a:endParaRPr lang="en-US" sz="1200" kern="1200" dirty="0"/>
        </a:p>
      </dsp:txBody>
      <dsp:txXfrm>
        <a:off x="3806019" y="2745649"/>
        <a:ext cx="1047867" cy="1246962"/>
      </dsp:txXfrm>
    </dsp:sp>
    <dsp:sp modelId="{883BFE8A-0CA4-4A2D-BAEC-908118206845}">
      <dsp:nvSpPr>
        <dsp:cNvPr id="0" name=""/>
        <dsp:cNvSpPr/>
      </dsp:nvSpPr>
      <dsp:spPr>
        <a:xfrm>
          <a:off x="5073939" y="2745649"/>
          <a:ext cx="1047867" cy="12469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Regional Business Development EME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Daniel </a:t>
          </a:r>
          <a:r>
            <a:rPr lang="en-US" sz="1000" kern="1200" dirty="0" err="1" smtClean="0"/>
            <a:t>Biedermann</a:t>
          </a:r>
          <a:endParaRPr lang="en-US" sz="1000" kern="1200" dirty="0"/>
        </a:p>
      </dsp:txBody>
      <dsp:txXfrm>
        <a:off x="5073939" y="2745649"/>
        <a:ext cx="1047867" cy="1246962"/>
      </dsp:txXfrm>
    </dsp:sp>
    <dsp:sp modelId="{EADB63DC-AE97-4FF1-B88B-F61277605997}">
      <dsp:nvSpPr>
        <dsp:cNvPr id="0" name=""/>
        <dsp:cNvSpPr/>
      </dsp:nvSpPr>
      <dsp:spPr>
        <a:xfrm>
          <a:off x="6341859" y="2745649"/>
          <a:ext cx="1047867" cy="12469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Regional Business Development Asia Pacific</a:t>
          </a:r>
          <a:br>
            <a:rPr lang="en-US" sz="1200" kern="1200" dirty="0" smtClean="0"/>
          </a:br>
          <a:r>
            <a:rPr lang="en-US" sz="1200" kern="1200" dirty="0" smtClean="0"/>
            <a:t/>
          </a:r>
          <a:br>
            <a:rPr lang="en-US" sz="1200" kern="1200" dirty="0" smtClean="0"/>
          </a:br>
          <a:r>
            <a:rPr lang="en-GB" sz="1000" i="1" kern="1200" dirty="0" smtClean="0"/>
            <a:t>Acting: </a:t>
          </a:r>
          <a:r>
            <a:rPr lang="en-GB" sz="1000" i="1" kern="1200" dirty="0" err="1" smtClean="0"/>
            <a:t>Gerson</a:t>
          </a:r>
          <a:r>
            <a:rPr lang="en-GB" sz="1000" i="1" kern="1200" dirty="0" smtClean="0"/>
            <a:t> </a:t>
          </a:r>
          <a:r>
            <a:rPr lang="en-GB" sz="1000" i="1" kern="1200" dirty="0" err="1" smtClean="0"/>
            <a:t>Souto</a:t>
          </a:r>
          <a:endParaRPr lang="en-US" sz="1000" kern="1200" dirty="0"/>
        </a:p>
      </dsp:txBody>
      <dsp:txXfrm>
        <a:off x="6341859" y="2745649"/>
        <a:ext cx="1047867" cy="1246962"/>
      </dsp:txXfrm>
    </dsp:sp>
    <dsp:sp modelId="{5587B695-25AE-4151-8D10-3CD7D2F49663}">
      <dsp:nvSpPr>
        <dsp:cNvPr id="0" name=""/>
        <dsp:cNvSpPr/>
      </dsp:nvSpPr>
      <dsp:spPr>
        <a:xfrm>
          <a:off x="7609779" y="2745649"/>
          <a:ext cx="1047867" cy="122465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0800" cap="flat" cmpd="sng" algn="ctr">
          <a:solidFill>
            <a:srgbClr val="B4468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Government &amp; Institution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/>
          </a:r>
          <a:br>
            <a:rPr lang="en-US" sz="1000" kern="1200" dirty="0" smtClean="0"/>
          </a:br>
          <a:r>
            <a:rPr lang="en-US" sz="1000" kern="1200" dirty="0" smtClean="0"/>
            <a:t>Philippe </a:t>
          </a:r>
          <a:r>
            <a:rPr lang="en-US" sz="1000" kern="1200" dirty="0" err="1" smtClean="0"/>
            <a:t>Glaesener</a:t>
          </a:r>
          <a:endParaRPr lang="en-US" sz="1000" kern="1200" dirty="0"/>
        </a:p>
      </dsp:txBody>
      <dsp:txXfrm>
        <a:off x="7609779" y="2745649"/>
        <a:ext cx="1047867" cy="12246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054112-ED33-4A25-8A02-F787BAAE666E}" type="datetimeFigureOut">
              <a:rPr lang="en-US" smtClean="0"/>
              <a:pPr/>
              <a:t>12/9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0270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90270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E732E2-29BF-42F3-B694-809FA5FA3D2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>
            <a:lvl1pPr defTabSz="936625">
              <a:spcBef>
                <a:spcPct val="0"/>
              </a:spcBef>
              <a:defRPr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>
            <a:lvl1pPr algn="r" defTabSz="936625">
              <a:spcBef>
                <a:spcPct val="0"/>
              </a:spcBef>
              <a:defRPr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2050" y="703263"/>
            <a:ext cx="4686300" cy="35147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451350"/>
            <a:ext cx="5607050" cy="421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902700"/>
            <a:ext cx="3038475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b" anchorCtr="0" compatLnSpc="1">
            <a:prstTxWarp prst="textNoShape">
              <a:avLst/>
            </a:prstTxWarp>
          </a:bodyPr>
          <a:lstStyle>
            <a:lvl1pPr defTabSz="936625">
              <a:spcBef>
                <a:spcPct val="0"/>
              </a:spcBef>
              <a:defRPr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902700"/>
            <a:ext cx="3038475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b" anchorCtr="0" compatLnSpc="1">
            <a:prstTxWarp prst="textNoShape">
              <a:avLst/>
            </a:prstTxWarp>
          </a:bodyPr>
          <a:lstStyle>
            <a:lvl1pPr algn="r" defTabSz="936625">
              <a:spcBef>
                <a:spcPct val="0"/>
              </a:spcBef>
              <a:defRPr>
                <a:cs typeface="+mn-cs"/>
              </a:defRPr>
            </a:lvl1pPr>
          </a:lstStyle>
          <a:p>
            <a:pPr>
              <a:defRPr/>
            </a:pPr>
            <a:fld id="{940323B6-912E-4B94-A78B-C55A47C35D5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1"/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1"/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rtl="0"/>
            <a:endParaRPr lang="en-US" dirty="0" smtClean="0"/>
          </a:p>
          <a:p>
            <a:pPr rtl="0"/>
            <a:endParaRPr lang="en-US" sz="1200" kern="1200" baseline="0" dirty="0" smtClean="0">
              <a:solidFill>
                <a:schemeClr val="tx1"/>
              </a:solidFill>
              <a:latin typeface="Arial" pitchFamily="34" charset="0"/>
              <a:ea typeface="+mn-ea"/>
              <a:cs typeface="+mn-cs"/>
            </a:endParaRPr>
          </a:p>
          <a:p>
            <a:pPr rtl="0"/>
            <a:r>
              <a:rPr lang="en-US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Input Carlo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Tomassini</a:t>
            </a:r>
            <a:r>
              <a:rPr lang="en-US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: Here is the plan for 2011. </a:t>
            </a:r>
          </a:p>
          <a:p>
            <a:pPr rtl="0"/>
            <a:r>
              <a:rPr lang="en-US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8 relocations executed</a:t>
            </a:r>
          </a:p>
          <a:p>
            <a:pPr rtl="0"/>
            <a:r>
              <a:rPr lang="en-US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2 relocations ongoing</a:t>
            </a:r>
          </a:p>
          <a:p>
            <a:pPr rtl="0"/>
            <a:r>
              <a:rPr lang="en-US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1 relocation will start next week</a:t>
            </a:r>
          </a:p>
          <a:p>
            <a:pPr rtl="0"/>
            <a:r>
              <a:rPr lang="en-US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rPr>
              <a:t>2 relocations foreseen, however subject to confirmation. They might also slip into 2012</a:t>
            </a:r>
          </a:p>
          <a:p>
            <a:pPr rtl="0"/>
            <a:endParaRPr lang="en-US" sz="1200" kern="1200" baseline="0" dirty="0" smtClean="0">
              <a:solidFill>
                <a:schemeClr val="tx1"/>
              </a:solidFill>
              <a:latin typeface="Arial" pitchFamily="34" charset="0"/>
              <a:ea typeface="+mn-ea"/>
              <a:cs typeface="+mn-cs"/>
            </a:endParaRPr>
          </a:p>
          <a:p>
            <a:pPr lvl="1"/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Gazprom</a:t>
            </a:r>
            <a:r>
              <a:rPr lang="en-US" dirty="0" smtClean="0"/>
              <a:t> – signed</a:t>
            </a:r>
          </a:p>
          <a:p>
            <a:endParaRPr lang="en-US" dirty="0" smtClean="0"/>
          </a:p>
          <a:p>
            <a:r>
              <a:rPr lang="en-US" dirty="0" smtClean="0"/>
              <a:t>Talks, negotiations,</a:t>
            </a:r>
            <a:r>
              <a:rPr lang="en-US" baseline="0" dirty="0" smtClean="0"/>
              <a:t> dialog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0323B6-912E-4B94-A78B-C55A47C35D52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 descr="SES_BeamShape_1_CM_rgb_office"/>
          <p:cNvPicPr>
            <a:picLocks noChangeAspect="1" noChangeArrowheads="1"/>
          </p:cNvPicPr>
          <p:nvPr/>
        </p:nvPicPr>
        <p:blipFill>
          <a:blip r:embed="rId2" cstate="print"/>
          <a:srcRect b="48543"/>
          <a:stretch>
            <a:fillRect/>
          </a:stretch>
        </p:blipFill>
        <p:spPr bwMode="auto">
          <a:xfrm>
            <a:off x="0" y="0"/>
            <a:ext cx="7378700" cy="379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 1" descr="SES_Logo_claim_BL_rgb.eps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34250" y="188913"/>
            <a:ext cx="1598613" cy="110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 19" descr="horizon_schwarz.psd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338" y="3871913"/>
            <a:ext cx="5629275" cy="58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1913" y="2130425"/>
            <a:ext cx="5832475" cy="1730375"/>
          </a:xfrm>
        </p:spPr>
        <p:txBody>
          <a:bodyPr anchor="t"/>
          <a:lstStyle>
            <a:lvl1pPr>
              <a:defRPr sz="5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7988" y="1322388"/>
            <a:ext cx="6756400" cy="720725"/>
          </a:xfrm>
        </p:spPr>
        <p:txBody>
          <a:bodyPr lIns="0" anchor="b"/>
          <a:lstStyle>
            <a:lvl1pPr>
              <a:defRPr/>
            </a:lvl1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A0FE19-C652-44BE-8C7F-DF197E73CE6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4000" y="179388"/>
            <a:ext cx="1997075" cy="61531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1188" y="179388"/>
            <a:ext cx="5840412" cy="61531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480C6-0164-42AC-B6DA-8A5A4E69EB8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179388"/>
            <a:ext cx="7018337" cy="9890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11188" y="1474788"/>
            <a:ext cx="3917950" cy="48577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1538" y="1474788"/>
            <a:ext cx="3919537" cy="2352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81538" y="3979863"/>
            <a:ext cx="3919537" cy="2352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C6DCF7-C296-4897-B7C1-BB6C7A79520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179388"/>
            <a:ext cx="7018337" cy="9890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11188" y="1474788"/>
            <a:ext cx="7989887" cy="4857750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38EBB6-BD69-4997-85B9-66E2FC0DD9D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96FF82-DDEE-4F22-B5EE-C9D4FF5B8D49}" type="slidenum">
              <a:rPr lang="de-DE" smtClean="0"/>
              <a:pPr>
                <a:defRPr/>
              </a:pPr>
              <a:t>‹#›</a:t>
            </a:fld>
            <a:r>
              <a:rPr lang="de-DE" dirty="0" smtClean="0"/>
              <a:t>/21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3B1FD6-5DFE-4C44-A5CF-6639C77DFA8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474788"/>
            <a:ext cx="391795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538" y="1474788"/>
            <a:ext cx="3919537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FDA53E-5F18-441F-A890-274427B3744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534C68-E3A9-47AB-A553-1A80C2A675A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AB964-8E71-422F-8AC1-7C8DB142EB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B1CE83-F20A-4C11-9CFF-26CA621E0D4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C4B871-4B14-4E09-B81A-F25D37CF501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AF86EB-DF74-4CC9-94BA-780109A07C9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179388"/>
            <a:ext cx="7018337" cy="989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1188" y="1474788"/>
            <a:ext cx="7989887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448425"/>
            <a:ext cx="5545137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>
                <a:cs typeface="+mn-cs"/>
              </a:defRPr>
            </a:lvl1pPr>
          </a:lstStyle>
          <a:p>
            <a:pPr>
              <a:defRPr/>
            </a:pPr>
            <a:r>
              <a:rPr lang="de-DE"/>
              <a:t>July 2011 (Date in Arial Regular 10 pt) Document Name (Name in Arial Regular 10 pt)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380288" y="6448425"/>
            <a:ext cx="1223962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cs typeface="+mn-cs"/>
              </a:defRPr>
            </a:lvl1pPr>
          </a:lstStyle>
          <a:p>
            <a:pPr>
              <a:defRPr/>
            </a:pPr>
            <a:fld id="{08197189-3E74-4B40-9561-3A116DAE8D92}" type="slidenum">
              <a:rPr lang="de-DE" smtClean="0"/>
              <a:pPr>
                <a:defRPr/>
              </a:pPr>
              <a:t>‹#›</a:t>
            </a:fld>
            <a:r>
              <a:rPr lang="de-DE" dirty="0" smtClean="0"/>
              <a:t>/21</a:t>
            </a:r>
            <a:endParaRPr lang="de-DE" dirty="0"/>
          </a:p>
        </p:txBody>
      </p:sp>
      <p:sp>
        <p:nvSpPr>
          <p:cNvPr id="2" name="Line 9"/>
          <p:cNvSpPr>
            <a:spLocks noChangeShapeType="1"/>
          </p:cNvSpPr>
          <p:nvPr/>
        </p:nvSpPr>
        <p:spPr bwMode="auto">
          <a:xfrm>
            <a:off x="574675" y="1330325"/>
            <a:ext cx="7989888" cy="79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031" name="Bild 1" descr="SES_Logo_M_lay.eps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862888" y="269875"/>
            <a:ext cx="911225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268288" indent="-266700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SzPct val="80000"/>
        <a:buFont typeface="Wingdings 3" pitchFamily="18" charset="2"/>
        <a:buChar char=""/>
        <a:defRPr sz="1600" b="1">
          <a:solidFill>
            <a:schemeClr val="tx1"/>
          </a:solidFill>
          <a:latin typeface="+mn-lt"/>
        </a:defRPr>
      </a:lvl2pPr>
      <a:lvl3pPr marL="539750" indent="-269875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Char char="•"/>
        <a:defRPr sz="1600">
          <a:solidFill>
            <a:schemeClr val="tx1"/>
          </a:solidFill>
          <a:latin typeface="+mn-lt"/>
        </a:defRPr>
      </a:lvl3pPr>
      <a:lvl4pPr marL="811213" indent="-269875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Char char="–"/>
        <a:defRPr sz="1600">
          <a:solidFill>
            <a:schemeClr val="tx1"/>
          </a:solidFill>
          <a:latin typeface="+mn-lt"/>
        </a:defRPr>
      </a:lvl4pPr>
      <a:lvl5pPr marL="1073150" indent="-260350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1530350" indent="-260350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6pPr>
      <a:lvl7pPr marL="1987550" indent="-260350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7pPr>
      <a:lvl8pPr marL="2444750" indent="-260350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8pPr>
      <a:lvl9pPr marL="2901950" indent="-260350" algn="l" rtl="0" eaLnBrk="1" fontAlgn="base" hangingPunct="1">
        <a:lnSpc>
          <a:spcPct val="115000"/>
        </a:lnSpc>
        <a:spcBef>
          <a:spcPct val="0"/>
        </a:spcBef>
        <a:spcAft>
          <a:spcPct val="5000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1913" y="2130425"/>
            <a:ext cx="6587294" cy="1730375"/>
          </a:xfrm>
        </p:spPr>
        <p:txBody>
          <a:bodyPr/>
          <a:lstStyle/>
          <a:p>
            <a:r>
              <a:rPr lang="en-US" sz="4800" dirty="0" smtClean="0"/>
              <a:t>2011 – An exceptional year for SES</a:t>
            </a:r>
            <a:endParaRPr lang="de-DE" sz="480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marL="0" indent="0"/>
            <a:r>
              <a:rPr lang="de-DE" dirty="0" smtClean="0"/>
              <a:t>All-staff meeting – 9 December 2011</a:t>
            </a:r>
          </a:p>
        </p:txBody>
      </p:sp>
      <p:sp>
        <p:nvSpPr>
          <p:cNvPr id="5124" name="Text Box 5"/>
          <p:cNvSpPr txBox="1">
            <a:spLocks noChangeArrowheads="1"/>
          </p:cNvSpPr>
          <p:nvPr/>
        </p:nvSpPr>
        <p:spPr bwMode="auto">
          <a:xfrm>
            <a:off x="1420813" y="6380163"/>
            <a:ext cx="718820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400" b="1" dirty="0" smtClean="0">
                <a:solidFill>
                  <a:srgbClr val="FF0000"/>
                </a:solidFill>
              </a:rPr>
              <a:t>COMPANY CONFIDENTIAL</a:t>
            </a:r>
            <a:endParaRPr lang="de-DE" sz="14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ES_BeamShape_2_CM_rgb-office"/>
          <p:cNvPicPr>
            <a:picLocks noChangeAspect="1" noChangeArrowheads="1"/>
          </p:cNvPicPr>
          <p:nvPr/>
        </p:nvPicPr>
        <p:blipFill>
          <a:blip r:embed="rId2" cstate="print"/>
          <a:srcRect b="17563"/>
          <a:stretch>
            <a:fillRect/>
          </a:stretch>
        </p:blipFill>
        <p:spPr bwMode="auto">
          <a:xfrm>
            <a:off x="0" y="0"/>
            <a:ext cx="594042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611188" y="3849688"/>
            <a:ext cx="7488237" cy="863600"/>
          </a:xfrm>
        </p:spPr>
        <p:txBody>
          <a:bodyPr/>
          <a:lstStyle/>
          <a:p>
            <a:r>
              <a:rPr lang="en-US" dirty="0" smtClean="0"/>
              <a:t>Our achievements 2011</a:t>
            </a:r>
            <a:endParaRPr lang="de-DE" dirty="0" smtClean="0"/>
          </a:p>
        </p:txBody>
      </p:sp>
      <p:sp>
        <p:nvSpPr>
          <p:cNvPr id="6148" name="Line 5"/>
          <p:cNvSpPr>
            <a:spLocks noChangeShapeType="1"/>
          </p:cNvSpPr>
          <p:nvPr/>
        </p:nvSpPr>
        <p:spPr bwMode="auto">
          <a:xfrm>
            <a:off x="611188" y="4821238"/>
            <a:ext cx="7989887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6149" name="Bild 1" descr="SES_Logo_M_lay.eps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62888" y="269875"/>
            <a:ext cx="911225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 bwMode="auto">
          <a:xfrm>
            <a:off x="5884438" y="978946"/>
            <a:ext cx="2796988" cy="8068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380288" y="6448425"/>
            <a:ext cx="1223962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0</a:t>
            </a:fld>
            <a:endParaRPr lang="de-DE" sz="1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1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188" y="1751108"/>
            <a:ext cx="8142519" cy="3631468"/>
          </a:xfrm>
        </p:spPr>
        <p:txBody>
          <a:bodyPr/>
          <a:lstStyle/>
          <a:p>
            <a:pPr lvl="1"/>
            <a:r>
              <a:rPr lang="de-DE" dirty="0" smtClean="0"/>
              <a:t>First nine months of 2011</a:t>
            </a:r>
          </a:p>
          <a:p>
            <a:pPr lvl="2"/>
            <a:r>
              <a:rPr lang="de-DE" dirty="0" smtClean="0"/>
              <a:t>Revenue and EBITDA in line with budget and financial guidance</a:t>
            </a:r>
          </a:p>
          <a:p>
            <a:pPr lvl="2"/>
            <a:r>
              <a:rPr lang="en-US" dirty="0" smtClean="0"/>
              <a:t>Contract backlog increased to EUR 7.1 billion (+ 9% compared to YE 2010)</a:t>
            </a:r>
            <a:br>
              <a:rPr lang="en-US" dirty="0" smtClean="0"/>
            </a:br>
            <a:endParaRPr lang="de-DE" dirty="0" smtClean="0"/>
          </a:p>
          <a:p>
            <a:pPr lvl="1"/>
            <a:r>
              <a:rPr lang="de-DE" dirty="0" smtClean="0"/>
              <a:t>Full-year 2011</a:t>
            </a:r>
          </a:p>
          <a:p>
            <a:pPr lvl="2"/>
            <a:r>
              <a:rPr lang="de-DE" dirty="0" smtClean="0"/>
              <a:t>Budget and financial guidance of 3% recurring revenue growth will be met</a:t>
            </a:r>
          </a:p>
          <a:p>
            <a:pPr lvl="3"/>
            <a:r>
              <a:rPr lang="en-GB" dirty="0" smtClean="0">
                <a:ea typeface="Times New Roman"/>
                <a:cs typeface="Times New Roman"/>
              </a:rPr>
              <a:t>Apart from revenue shortfall of 10 MEUR </a:t>
            </a:r>
            <a:r>
              <a:rPr lang="de-DE" dirty="0" smtClean="0"/>
              <a:t>due to launch delays in Q4</a:t>
            </a:r>
            <a:br>
              <a:rPr lang="de-DE" dirty="0" smtClean="0"/>
            </a:br>
            <a:r>
              <a:rPr lang="de-DE" dirty="0" smtClean="0"/>
              <a:t>(QuetzSat-1 and SES-4)</a:t>
            </a:r>
            <a:br>
              <a:rPr lang="de-DE" dirty="0" smtClean="0"/>
            </a:br>
            <a:r>
              <a:rPr lang="de-DE" dirty="0" smtClean="0"/>
              <a:t>	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ivering solid financial results </a:t>
            </a:r>
            <a:endParaRPr lang="de-DE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2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188" y="1546706"/>
            <a:ext cx="8142519" cy="3631468"/>
          </a:xfrm>
        </p:spPr>
        <p:txBody>
          <a:bodyPr/>
          <a:lstStyle/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ustry benchmarking - Q3 YTD 2011</a:t>
            </a:r>
            <a:endParaRPr lang="de-DE" dirty="0" smtClean="0"/>
          </a:p>
        </p:txBody>
      </p:sp>
      <p:graphicFrame>
        <p:nvGraphicFramePr>
          <p:cNvPr id="7" name="Group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53987022"/>
              </p:ext>
            </p:extLst>
          </p:nvPr>
        </p:nvGraphicFramePr>
        <p:xfrm>
          <a:off x="395288" y="1433513"/>
          <a:ext cx="8073405" cy="4479578"/>
        </p:xfrm>
        <a:graphic>
          <a:graphicData uri="http://schemas.openxmlformats.org/drawingml/2006/table">
            <a:tbl>
              <a:tblPr/>
              <a:tblGrid>
                <a:gridCol w="8073405"/>
              </a:tblGrid>
              <a:tr h="4721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 W3" pitchFamily="1" charset="-128"/>
                        </a:rPr>
                        <a:t>Q3 2011 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 W3" pitchFamily="1" charset="-128"/>
                        </a:rPr>
                        <a:t>v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 W3" pitchFamily="1" charset="-128"/>
                        </a:rPr>
                        <a:t> Q3 2010 YTD Recurring Revenue Development – Constant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 W3" pitchFamily="1" charset="-128"/>
                        </a:rPr>
                        <a:t>Fx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ヒラギノ角ゴ Pro W3" pitchFamily="1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40073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80000"/>
                        <a:buFont typeface="Wingdings 3" pitchFamily="18" charset="2"/>
                        <a:buChar char="p"/>
                        <a:tabLst/>
                      </a:pPr>
                      <a:endParaRPr kumimoji="0" lang="en-GB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Arial" pitchFamily="34" charset="0"/>
                        <a:ea typeface="ヒラギノ角ゴ Pro W3" pitchFamily="1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64880773"/>
              </p:ext>
            </p:extLst>
          </p:nvPr>
        </p:nvGraphicFramePr>
        <p:xfrm>
          <a:off x="539552" y="2045623"/>
          <a:ext cx="7777584" cy="3720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Box 50"/>
          <p:cNvSpPr txBox="1">
            <a:spLocks noChangeArrowheads="1"/>
          </p:cNvSpPr>
          <p:nvPr/>
        </p:nvSpPr>
        <p:spPr bwMode="auto">
          <a:xfrm>
            <a:off x="148960" y="6201192"/>
            <a:ext cx="5694363" cy="62170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xtLst/>
        </p:spPr>
        <p:txBody>
          <a:bodyPr>
            <a:spAutoFit/>
          </a:bodyPr>
          <a:lstStyle>
            <a:defPPr>
              <a:defRPr lang="en-US"/>
            </a:defPPr>
            <a:lvl1pPr>
              <a:spcBef>
                <a:spcPct val="10000"/>
              </a:spcBef>
              <a:tabLst>
                <a:tab pos="357188" algn="l"/>
              </a:tabLst>
              <a:defRPr sz="800" i="1"/>
            </a:lvl1pPr>
          </a:lstStyle>
          <a:p>
            <a:r>
              <a:rPr lang="en-GB" dirty="0"/>
              <a:t>Notes:  </a:t>
            </a:r>
            <a:r>
              <a:rPr lang="en-US" dirty="0"/>
              <a:t>Grey bars in chart represent figures for Q3 YTD 2010</a:t>
            </a:r>
          </a:p>
          <a:p>
            <a:r>
              <a:rPr lang="en-US" dirty="0"/>
              <a:t>              </a:t>
            </a:r>
            <a:r>
              <a:rPr lang="en-GB" dirty="0" err="1"/>
              <a:t>Fx</a:t>
            </a:r>
            <a:r>
              <a:rPr lang="en-GB" dirty="0"/>
              <a:t> rates </a:t>
            </a:r>
            <a:r>
              <a:rPr lang="en-US" dirty="0"/>
              <a:t>in Q3 YTD 2011: </a:t>
            </a:r>
            <a:r>
              <a:rPr lang="en-GB" dirty="0"/>
              <a:t>1.41 USD = 1 EUR and 1.37 CAD = 1 EUR </a:t>
            </a:r>
          </a:p>
          <a:p>
            <a:r>
              <a:rPr lang="en-US" dirty="0"/>
              <a:t>              Intelsat: assuming 100% of the revenues in USD</a:t>
            </a:r>
          </a:p>
          <a:p>
            <a:r>
              <a:rPr lang="en-US" dirty="0"/>
              <a:t>             </a:t>
            </a:r>
          </a:p>
        </p:txBody>
      </p:sp>
      <p:sp>
        <p:nvSpPr>
          <p:cNvPr id="10" name="Text Box 51"/>
          <p:cNvSpPr txBox="1">
            <a:spLocks noChangeArrowheads="1"/>
          </p:cNvSpPr>
          <p:nvPr/>
        </p:nvSpPr>
        <p:spPr bwMode="auto">
          <a:xfrm>
            <a:off x="3795357" y="6201192"/>
            <a:ext cx="5311792" cy="6093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ct val="10000"/>
              </a:spcBef>
              <a:tabLst>
                <a:tab pos="357188" algn="l"/>
              </a:tabLst>
              <a:defRPr sz="800" i="1"/>
            </a:lvl1pPr>
          </a:lstStyle>
          <a:p>
            <a:r>
              <a:rPr lang="en-GB" dirty="0" err="1"/>
              <a:t>Eutelsat</a:t>
            </a:r>
            <a:r>
              <a:rPr lang="en-GB" dirty="0"/>
              <a:t>: based on calendar Q3 2010 and Q3 2011, assuming 20% of the revenues in USD (SES best guess)</a:t>
            </a:r>
            <a:endParaRPr lang="en-US" dirty="0"/>
          </a:p>
          <a:p>
            <a:r>
              <a:rPr lang="en-US" dirty="0" err="1"/>
              <a:t>Telesat</a:t>
            </a:r>
            <a:r>
              <a:rPr lang="en-US" dirty="0"/>
              <a:t>: Recurring growth at constant </a:t>
            </a:r>
            <a:r>
              <a:rPr lang="en-US" dirty="0" err="1"/>
              <a:t>Fx</a:t>
            </a:r>
            <a:r>
              <a:rPr lang="en-US" dirty="0"/>
              <a:t> from press release</a:t>
            </a:r>
          </a:p>
          <a:p>
            <a:r>
              <a:rPr lang="en-US" dirty="0"/>
              <a:t>Inmarsat: only Inmarsat Global excluding the </a:t>
            </a:r>
            <a:r>
              <a:rPr lang="en-US" dirty="0" err="1"/>
              <a:t>LightSquared</a:t>
            </a:r>
            <a:r>
              <a:rPr lang="en-US" dirty="0"/>
              <a:t> agreement (</a:t>
            </a:r>
            <a:r>
              <a:rPr lang="en-US" dirty="0" err="1"/>
              <a:t>ie</a:t>
            </a:r>
            <a:r>
              <a:rPr lang="en-US" dirty="0"/>
              <a:t> without </a:t>
            </a:r>
            <a:r>
              <a:rPr lang="en-US" dirty="0" err="1"/>
              <a:t>Stratos</a:t>
            </a:r>
            <a:r>
              <a:rPr lang="en-US" dirty="0"/>
              <a:t> and Segovia businesses), assuming 100% of the revenues in USD</a:t>
            </a:r>
          </a:p>
        </p:txBody>
      </p:sp>
      <p:sp>
        <p:nvSpPr>
          <p:cNvPr id="12" name="Oval Callout 11"/>
          <p:cNvSpPr/>
          <p:nvPr/>
        </p:nvSpPr>
        <p:spPr bwMode="auto">
          <a:xfrm>
            <a:off x="4293487" y="1925620"/>
            <a:ext cx="3946881" cy="1081980"/>
          </a:xfrm>
          <a:prstGeom prst="wedgeEllipseCallout">
            <a:avLst>
              <a:gd name="adj1" fmla="val -70501"/>
              <a:gd name="adj2" fmla="val 61558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800" b="1" dirty="0" smtClean="0"/>
          </a:p>
          <a:p>
            <a:pPr>
              <a:spcBef>
                <a:spcPct val="50000"/>
              </a:spcBef>
            </a:pPr>
            <a:r>
              <a:rPr lang="en-US" b="1" dirty="0" smtClean="0"/>
              <a:t>SES’ growth outperformed its peers, other than </a:t>
            </a:r>
            <a:r>
              <a:rPr lang="en-US" b="1" dirty="0" err="1" smtClean="0"/>
              <a:t>Eutelsat</a:t>
            </a:r>
            <a:endParaRPr lang="en-US" b="1" dirty="0" smtClean="0"/>
          </a:p>
          <a:p>
            <a:pPr>
              <a:spcBef>
                <a:spcPct val="50000"/>
              </a:spcBef>
            </a:pPr>
            <a:endParaRPr lang="en-US" sz="800" b="1" dirty="0" smtClean="0"/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 bwMode="auto">
          <a:xfrm>
            <a:off x="7532688" y="6600825"/>
            <a:ext cx="1223962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420BE54-0BE9-4705-9194-DF0631BA76E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3</a:t>
            </a:fld>
            <a:endParaRPr lang="de-DE" sz="100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re price development 2011</a:t>
            </a:r>
            <a:endParaRPr lang="de-DE" dirty="0" smtClean="0"/>
          </a:p>
        </p:txBody>
      </p:sp>
      <p:sp>
        <p:nvSpPr>
          <p:cNvPr id="8" name="Rectangle 5"/>
          <p:cNvSpPr txBox="1">
            <a:spLocks noChangeArrowheads="1"/>
          </p:cNvSpPr>
          <p:nvPr/>
        </p:nvSpPr>
        <p:spPr bwMode="auto">
          <a:xfrm>
            <a:off x="6279775" y="1842247"/>
            <a:ext cx="2473931" cy="326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</a:bodyPr>
          <a:lstStyle/>
          <a:p>
            <a:pPr marL="268288" lvl="1" indent="-266700">
              <a:lnSpc>
                <a:spcPct val="115000"/>
              </a:lnSpc>
              <a:spcAft>
                <a:spcPct val="50000"/>
              </a:spcAft>
              <a:buSzPct val="80000"/>
              <a:buFont typeface="Wingdings 3" pitchFamily="18" charset="2"/>
              <a:buChar char=""/>
            </a:pPr>
            <a:r>
              <a: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SES has held up well in a negative market environment</a:t>
            </a:r>
          </a:p>
          <a:p>
            <a:pPr marL="268288" lvl="1" indent="-266700">
              <a:lnSpc>
                <a:spcPct val="115000"/>
              </a:lnSpc>
              <a:spcAft>
                <a:spcPct val="50000"/>
              </a:spcAft>
              <a:buSzPct val="80000"/>
              <a:buFont typeface="Wingdings 3" pitchFamily="18" charset="2"/>
              <a:buChar char=""/>
            </a:pPr>
            <a:r>
              <a:rPr lang="de-DE" sz="1600" b="1" kern="0" dirty="0" smtClean="0">
                <a:latin typeface="+mn-lt"/>
              </a:rPr>
              <a:t>Both SES and Eutelsat </a:t>
            </a:r>
            <a:r>
              <a: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outperform the CAC 40</a:t>
            </a:r>
            <a:endParaRPr lang="de-DE" sz="1600" b="1" kern="0" dirty="0" smtClean="0">
              <a:latin typeface="+mn-lt"/>
            </a:endParaRPr>
          </a:p>
          <a:p>
            <a:pPr marL="268288" marR="0" lvl="1" indent="-266700" algn="l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50000"/>
              </a:spcAft>
              <a:buClrTx/>
              <a:buSzPct val="80000"/>
              <a:buFont typeface="Wingdings 3" pitchFamily="18" charset="2"/>
              <a:buChar char=""/>
              <a:tabLst/>
              <a:defRPr/>
            </a:pPr>
            <a:r>
              <a:rPr lang="de-DE" sz="1600" b="1" kern="0" dirty="0" smtClean="0">
                <a:latin typeface="+mn-lt"/>
              </a:rPr>
              <a:t>Throughout 2011, S</a:t>
            </a:r>
            <a:r>
              <a: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ES</a:t>
            </a:r>
            <a:r>
              <a:rPr kumimoji="0" lang="de-DE" sz="16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 has, however, continued to </a:t>
            </a:r>
            <a:r>
              <a: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trade at a discount compared to Eutelsat</a:t>
            </a:r>
          </a:p>
          <a:p>
            <a:pPr marL="268288" marR="0" lvl="1" indent="-266700" algn="l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50000"/>
              </a:spcAft>
              <a:buClrTx/>
              <a:buSzPct val="80000"/>
              <a:buFont typeface="Wingdings 3" pitchFamily="18" charset="2"/>
              <a:buChar char=""/>
              <a:tabLst/>
              <a:defRPr/>
            </a:pPr>
            <a:endParaRPr kumimoji="0" lang="de-DE" sz="16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500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1340" y="6174167"/>
            <a:ext cx="47916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/>
              <a:t>Indexed share price development: basis 100 on 1</a:t>
            </a:r>
            <a:r>
              <a:rPr lang="en-US" i="1" baseline="30000" dirty="0" smtClean="0"/>
              <a:t>st</a:t>
            </a:r>
            <a:r>
              <a:rPr lang="en-US" i="1" dirty="0" smtClean="0"/>
              <a:t> December  2010</a:t>
            </a:r>
            <a:endParaRPr lang="en-US" i="1" dirty="0"/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9125" y="1447800"/>
            <a:ext cx="5001090" cy="472440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</p:pic>
      <p:sp>
        <p:nvSpPr>
          <p:cNvPr id="7" name="TextBox 6"/>
          <p:cNvSpPr txBox="1"/>
          <p:nvPr/>
        </p:nvSpPr>
        <p:spPr>
          <a:xfrm rot="-5400000">
            <a:off x="4711803" y="5432614"/>
            <a:ext cx="5701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Dec.</a:t>
            </a:r>
            <a:endParaRPr lang="en-US" sz="8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4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188" y="1598076"/>
            <a:ext cx="8142519" cy="4527516"/>
          </a:xfrm>
        </p:spPr>
        <p:txBody>
          <a:bodyPr/>
          <a:lstStyle/>
          <a:p>
            <a:pPr lvl="1"/>
            <a:r>
              <a:rPr lang="de-DE" dirty="0" smtClean="0"/>
              <a:t>Industry record of 4 successful launches in one quarter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Continouous roll-out of SES investment programme with strong focus on growing market segments</a:t>
            </a:r>
          </a:p>
          <a:p>
            <a:pPr lvl="1"/>
            <a:endParaRPr lang="en-US" dirty="0" smtClean="0"/>
          </a:p>
          <a:p>
            <a:pPr lvl="1"/>
            <a:r>
              <a:rPr lang="en-GB" dirty="0" smtClean="0"/>
              <a:t>293</a:t>
            </a:r>
            <a:r>
              <a:rPr lang="en-GB" dirty="0" smtClean="0">
                <a:solidFill>
                  <a:srgbClr val="000000"/>
                </a:solidFill>
              </a:rPr>
              <a:t> incremental transponders </a:t>
            </a:r>
            <a:r>
              <a:rPr lang="en-GB" dirty="0" smtClean="0"/>
              <a:t>deliver over 23% additional </a:t>
            </a:r>
            <a:r>
              <a:rPr lang="en-GB" dirty="0" smtClean="0">
                <a:solidFill>
                  <a:srgbClr val="000000"/>
                </a:solidFill>
              </a:rPr>
              <a:t>capacity compared to the 1,249 transponders available at YE 2010  </a:t>
            </a:r>
          </a:p>
          <a:p>
            <a:pPr lvl="1"/>
            <a:endParaRPr lang="en-GB" dirty="0" smtClean="0">
              <a:solidFill>
                <a:srgbClr val="000000"/>
              </a:solidFill>
            </a:endParaRPr>
          </a:p>
          <a:p>
            <a:pPr lvl="1"/>
            <a:r>
              <a:rPr lang="en-US" dirty="0" smtClean="0"/>
              <a:t>Procurement of SES-8 with Orbital (launch in 2013)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tensive fleet adjustments to </a:t>
            </a:r>
            <a:r>
              <a:rPr lang="en-US" dirty="0" err="1" smtClean="0"/>
              <a:t>optimise</a:t>
            </a:r>
            <a:r>
              <a:rPr lang="en-US" dirty="0" smtClean="0"/>
              <a:t> use of in-orbit capacity and secure frequency rights</a:t>
            </a:r>
          </a:p>
          <a:p>
            <a:pPr lvl="2"/>
            <a:endParaRPr lang="en-US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ing to lay the foundation for future growth</a:t>
            </a:r>
            <a:endParaRPr lang="de-DE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5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89672" y="1765244"/>
            <a:ext cx="8263871" cy="4571010"/>
          </a:xfrm>
        </p:spPr>
        <p:txBody>
          <a:bodyPr/>
          <a:lstStyle/>
          <a:p>
            <a:pPr lvl="1"/>
            <a:r>
              <a:rPr lang="de-DE" dirty="0" smtClean="0"/>
              <a:t>Infrastructure business</a:t>
            </a:r>
          </a:p>
          <a:p>
            <a:pPr lvl="2"/>
            <a:r>
              <a:rPr lang="en-US" dirty="0" smtClean="0"/>
              <a:t>EUR 1.6 billion of renewals and new business signed during first 9 months</a:t>
            </a:r>
          </a:p>
          <a:p>
            <a:pPr lvl="2"/>
            <a:r>
              <a:rPr lang="en-US" dirty="0" smtClean="0"/>
              <a:t>Percentage of </a:t>
            </a:r>
            <a:r>
              <a:rPr lang="en-US" dirty="0" err="1" smtClean="0"/>
              <a:t>utilised</a:t>
            </a:r>
            <a:r>
              <a:rPr lang="en-US" dirty="0" smtClean="0"/>
              <a:t> transponders grew to 81% (+ 3% compared to YE 2010)</a:t>
            </a:r>
          </a:p>
          <a:p>
            <a:pPr lvl="2"/>
            <a:r>
              <a:rPr lang="de-DE" dirty="0" smtClean="0"/>
              <a:t>Good progress in Central and Eastern European business</a:t>
            </a:r>
            <a:endParaRPr lang="de-DE" sz="1000" dirty="0" smtClean="0">
              <a:solidFill>
                <a:srgbClr val="FF0000"/>
              </a:solidFill>
            </a:endParaRPr>
          </a:p>
          <a:p>
            <a:pPr lvl="2"/>
            <a:r>
              <a:rPr lang="en-US" dirty="0" smtClean="0"/>
              <a:t>12 transponder agreement on SES-7 (ex-</a:t>
            </a:r>
            <a:r>
              <a:rPr lang="en-US" dirty="0" err="1" smtClean="0"/>
              <a:t>Protostar</a:t>
            </a:r>
            <a:r>
              <a:rPr lang="en-US" dirty="0" smtClean="0"/>
              <a:t>) for Indian DTH market</a:t>
            </a:r>
            <a:endParaRPr lang="de-DE" dirty="0" smtClean="0"/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Services business</a:t>
            </a:r>
          </a:p>
          <a:p>
            <a:pPr lvl="2"/>
            <a:r>
              <a:rPr lang="de-DE" dirty="0" smtClean="0"/>
              <a:t>HD + platform delivered robust contribution beyond expectations </a:t>
            </a:r>
          </a:p>
          <a:p>
            <a:pPr lvl="2"/>
            <a:r>
              <a:rPr lang="de-DE" dirty="0" smtClean="0"/>
              <a:t>Broadband service „ASTRA2Connect“ enhanced download speeds and rolled out hybrid Ku/Ka-band modems</a:t>
            </a:r>
          </a:p>
          <a:p>
            <a:pPr lvl="2"/>
            <a:endParaRPr lang="en-US" dirty="0" smtClean="0"/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ercial successes</a:t>
            </a:r>
            <a:endParaRPr lang="de-DE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6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188" y="1474787"/>
            <a:ext cx="8306781" cy="4905465"/>
          </a:xfrm>
        </p:spPr>
        <p:txBody>
          <a:bodyPr/>
          <a:lstStyle/>
          <a:p>
            <a:pPr lvl="1"/>
            <a:r>
              <a:rPr lang="de-DE" dirty="0" smtClean="0"/>
              <a:t>Strategic partnerships and potential opportunities</a:t>
            </a:r>
          </a:p>
          <a:p>
            <a:pPr lvl="2"/>
            <a:r>
              <a:rPr lang="de-DE" dirty="0" smtClean="0"/>
              <a:t>Gazprom Space Services partnership signed</a:t>
            </a:r>
          </a:p>
          <a:p>
            <a:pPr lvl="2"/>
            <a:r>
              <a:rPr lang="de-DE" dirty="0" smtClean="0"/>
              <a:t>Discussions with Andean Community for use of 67° West orbital slot</a:t>
            </a:r>
          </a:p>
          <a:p>
            <a:pPr lvl="2"/>
            <a:r>
              <a:rPr lang="de-DE" dirty="0" smtClean="0"/>
              <a:t>Talks with ictQatar for further development of Middle Eastern business </a:t>
            </a:r>
          </a:p>
          <a:p>
            <a:pPr lvl="2"/>
            <a:r>
              <a:rPr lang="de-DE" dirty="0" smtClean="0"/>
              <a:t>Ongoing discussions with various Asian operators, such as IndoSat</a:t>
            </a:r>
            <a:br>
              <a:rPr lang="de-DE" dirty="0" smtClean="0"/>
            </a:br>
            <a:endParaRPr lang="de-DE" sz="1000" dirty="0" smtClean="0"/>
          </a:p>
          <a:p>
            <a:pPr lvl="1"/>
            <a:r>
              <a:rPr lang="de-DE" dirty="0" smtClean="0"/>
              <a:t>Additional investment in O3b</a:t>
            </a:r>
          </a:p>
          <a:p>
            <a:pPr lvl="2"/>
            <a:r>
              <a:rPr lang="de-DE" dirty="0" smtClean="0"/>
              <a:t>New investment round to finance construction of four additional satellites</a:t>
            </a:r>
          </a:p>
          <a:p>
            <a:pPr lvl="2"/>
            <a:r>
              <a:rPr lang="de-DE" dirty="0" smtClean="0"/>
              <a:t>Raising SES interest in O3b to 42% in 2013</a:t>
            </a:r>
          </a:p>
          <a:p>
            <a:pPr lvl="2">
              <a:buNone/>
            </a:pPr>
            <a:endParaRPr lang="de-DE" sz="1000" dirty="0" smtClean="0"/>
          </a:p>
          <a:p>
            <a:pPr lvl="1"/>
            <a:r>
              <a:rPr lang="de-DE" dirty="0" smtClean="0"/>
              <a:t>Divesture of majority stake in NDSatCom completed</a:t>
            </a:r>
            <a:br>
              <a:rPr lang="de-DE" dirty="0" smtClean="0"/>
            </a:br>
            <a:r>
              <a:rPr lang="de-DE" dirty="0" smtClean="0"/>
              <a:t>	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rther developing our business</a:t>
            </a:r>
            <a:endParaRPr lang="de-DE" dirty="0" smtClean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ES_BeamShape_2_CM_rgb-office"/>
          <p:cNvPicPr>
            <a:picLocks noChangeAspect="1" noChangeArrowheads="1"/>
          </p:cNvPicPr>
          <p:nvPr/>
        </p:nvPicPr>
        <p:blipFill>
          <a:blip r:embed="rId2" cstate="print"/>
          <a:srcRect b="17563"/>
          <a:stretch>
            <a:fillRect/>
          </a:stretch>
        </p:blipFill>
        <p:spPr bwMode="auto">
          <a:xfrm>
            <a:off x="0" y="0"/>
            <a:ext cx="594042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611188" y="3849688"/>
            <a:ext cx="7488237" cy="863600"/>
          </a:xfrm>
        </p:spPr>
        <p:txBody>
          <a:bodyPr/>
          <a:lstStyle/>
          <a:p>
            <a:pPr lvl="1"/>
            <a:r>
              <a:rPr lang="de-DE" dirty="0" smtClean="0"/>
              <a:t>A challenging 2012 business environment</a:t>
            </a:r>
          </a:p>
        </p:txBody>
      </p:sp>
      <p:sp>
        <p:nvSpPr>
          <p:cNvPr id="6148" name="Line 5"/>
          <p:cNvSpPr>
            <a:spLocks noChangeShapeType="1"/>
          </p:cNvSpPr>
          <p:nvPr/>
        </p:nvSpPr>
        <p:spPr bwMode="auto">
          <a:xfrm>
            <a:off x="611188" y="4821238"/>
            <a:ext cx="7989887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6149" name="Bild 1" descr="SES_Logo_M_lay.eps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62888" y="269875"/>
            <a:ext cx="911225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 bwMode="auto">
          <a:xfrm>
            <a:off x="5120640" y="785308"/>
            <a:ext cx="3356386" cy="7315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884438" y="978946"/>
            <a:ext cx="2796988" cy="8068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380288" y="6448425"/>
            <a:ext cx="1223962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7</a:t>
            </a:fld>
            <a:endParaRPr lang="de-DE" sz="1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8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188" y="1536636"/>
            <a:ext cx="8317659" cy="4917951"/>
          </a:xfrm>
        </p:spPr>
        <p:txBody>
          <a:bodyPr/>
          <a:lstStyle/>
          <a:p>
            <a:pPr lvl="1"/>
            <a:r>
              <a:rPr lang="de-DE" dirty="0" smtClean="0"/>
              <a:t>Financial </a:t>
            </a:r>
          </a:p>
          <a:p>
            <a:pPr lvl="2"/>
            <a:r>
              <a:rPr lang="de-DE" dirty="0" smtClean="0"/>
              <a:t>Substantial risks resulting from </a:t>
            </a:r>
            <a:r>
              <a:rPr lang="en-US" dirty="0" smtClean="0"/>
              <a:t>debt crisis and increasingly weak-looking global economy   =&gt;   Likelihood of revenue shortfalls</a:t>
            </a:r>
          </a:p>
          <a:p>
            <a:pPr lvl="1"/>
            <a:r>
              <a:rPr lang="de-DE" dirty="0" smtClean="0"/>
              <a:t>Operational </a:t>
            </a:r>
          </a:p>
          <a:p>
            <a:pPr lvl="2"/>
            <a:r>
              <a:rPr lang="en-US" dirty="0" smtClean="0"/>
              <a:t>Continued solar array circuit failures</a:t>
            </a:r>
          </a:p>
          <a:p>
            <a:pPr lvl="2"/>
            <a:r>
              <a:rPr lang="en-US" dirty="0" smtClean="0"/>
              <a:t>Launch delays of SES-4 and SES-5 impacting 2012 revenues</a:t>
            </a:r>
            <a:endParaRPr lang="de-DE" dirty="0" smtClean="0"/>
          </a:p>
          <a:p>
            <a:pPr lvl="1"/>
            <a:r>
              <a:rPr lang="de-DE" dirty="0" smtClean="0"/>
              <a:t>Commercial</a:t>
            </a:r>
          </a:p>
          <a:p>
            <a:pPr lvl="2"/>
            <a:r>
              <a:rPr lang="de-DE" dirty="0" smtClean="0"/>
              <a:t>Considerable revenue loss due to analogue switch-off</a:t>
            </a:r>
          </a:p>
          <a:p>
            <a:pPr lvl="2"/>
            <a:r>
              <a:rPr lang="de-DE" dirty="0" smtClean="0"/>
              <a:t>Soft  growth expected in mature markets, starting with North America and UK</a:t>
            </a:r>
          </a:p>
          <a:p>
            <a:pPr lvl="2"/>
            <a:r>
              <a:rPr lang="de-DE" dirty="0" smtClean="0"/>
              <a:t>Risk of overcapacity in some markets (sub-saharan Africa and Middle East)</a:t>
            </a:r>
          </a:p>
          <a:p>
            <a:pPr lvl="2"/>
            <a:r>
              <a:rPr lang="de-DE" dirty="0" smtClean="0"/>
              <a:t>Historically high new business targets to be achieved !</a:t>
            </a:r>
            <a:endParaRPr lang="en-US" dirty="0" smtClean="0"/>
          </a:p>
          <a:p>
            <a:pPr lvl="2">
              <a:buNone/>
            </a:pPr>
            <a:endParaRPr lang="de-DE" dirty="0" smtClean="0"/>
          </a:p>
          <a:p>
            <a:pPr lvl="1">
              <a:buNone/>
            </a:pPr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 in 2012</a:t>
            </a:r>
            <a:endParaRPr lang="de-DE" dirty="0" smtClean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19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188" y="1474788"/>
            <a:ext cx="8142519" cy="4691836"/>
          </a:xfrm>
        </p:spPr>
        <p:txBody>
          <a:bodyPr/>
          <a:lstStyle/>
          <a:p>
            <a:pPr lvl="1"/>
            <a:r>
              <a:rPr lang="de-DE" dirty="0" smtClean="0"/>
              <a:t>Solid financials</a:t>
            </a:r>
          </a:p>
          <a:p>
            <a:pPr lvl="2"/>
            <a:r>
              <a:rPr lang="de-DE" dirty="0" smtClean="0"/>
              <a:t>Strong backlog</a:t>
            </a:r>
          </a:p>
          <a:p>
            <a:pPr lvl="2"/>
            <a:r>
              <a:rPr lang="de-DE" dirty="0" smtClean="0"/>
              <a:t>Array of funding instruments in place to protect company in difficult financial market conditions and to provide liquidity</a:t>
            </a:r>
          </a:p>
          <a:p>
            <a:pPr lvl="1"/>
            <a:r>
              <a:rPr lang="de-DE" dirty="0" smtClean="0"/>
              <a:t>Ambitious investment programme</a:t>
            </a:r>
          </a:p>
          <a:p>
            <a:pPr lvl="2"/>
            <a:r>
              <a:rPr lang="de-DE" dirty="0" smtClean="0"/>
              <a:t>Substantial capacity added in 2011 and 2012 to satisfy growing markets‘ needs</a:t>
            </a:r>
          </a:p>
          <a:p>
            <a:pPr lvl="2"/>
            <a:r>
              <a:rPr lang="de-DE" dirty="0" smtClean="0"/>
              <a:t>Industry standard fill-rates on existing satellites </a:t>
            </a:r>
          </a:p>
          <a:p>
            <a:pPr lvl="1"/>
            <a:r>
              <a:rPr lang="de-DE" dirty="0" smtClean="0"/>
              <a:t>A unified and stronger organisation</a:t>
            </a:r>
          </a:p>
          <a:p>
            <a:pPr lvl="2"/>
            <a:r>
              <a:rPr lang="de-DE" dirty="0" smtClean="0"/>
              <a:t>A talented and engaged workforce</a:t>
            </a:r>
          </a:p>
          <a:p>
            <a:pPr lvl="2"/>
            <a:r>
              <a:rPr lang="de-DE" dirty="0" smtClean="0"/>
              <a:t>Focused on commercial growth targets</a:t>
            </a:r>
          </a:p>
          <a:p>
            <a:pPr lvl="2"/>
            <a:r>
              <a:rPr lang="de-DE" dirty="0" smtClean="0"/>
              <a:t>Integrated support functions</a:t>
            </a:r>
          </a:p>
          <a:p>
            <a:pPr lvl="2"/>
            <a:r>
              <a:rPr lang="de-DE" dirty="0" smtClean="0"/>
              <a:t>A unified and compelling new corporate identity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de-DE" dirty="0" smtClean="0"/>
              <a:t>SES is ready to take up the challenge 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2</a:t>
            </a:fld>
            <a:endParaRPr lang="de-DE" sz="1000" dirty="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188" y="1474788"/>
            <a:ext cx="7989887" cy="3710529"/>
          </a:xfrm>
        </p:spPr>
        <p:txBody>
          <a:bodyPr/>
          <a:lstStyle/>
          <a:p>
            <a:pPr lvl="1"/>
            <a:endParaRPr lang="de-DE" dirty="0" smtClean="0"/>
          </a:p>
          <a:p>
            <a:pPr lvl="1"/>
            <a:r>
              <a:rPr lang="de-DE" dirty="0" smtClean="0"/>
              <a:t>OneSES – status update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Our achievements 2011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A challenging 2012 business environment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Q&amp;A: Your questions answered</a:t>
            </a:r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de-DE" dirty="0" smtClean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are we in the change process?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96FF82-DDEE-4F22-B5EE-C9D4FF5B8D49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sp>
        <p:nvSpPr>
          <p:cNvPr id="6" name="Curved Right Arrow 1"/>
          <p:cNvSpPr>
            <a:spLocks noChangeArrowheads="1"/>
          </p:cNvSpPr>
          <p:nvPr/>
        </p:nvSpPr>
        <p:spPr bwMode="auto">
          <a:xfrm rot="-5400000">
            <a:off x="3093244" y="-250031"/>
            <a:ext cx="2932113" cy="6784975"/>
          </a:xfrm>
          <a:prstGeom prst="curvedRightArrow">
            <a:avLst>
              <a:gd name="adj1" fmla="val 24994"/>
              <a:gd name="adj2" fmla="val 49998"/>
              <a:gd name="adj3" fmla="val 25000"/>
            </a:avLst>
          </a:prstGeom>
          <a:solidFill>
            <a:schemeClr val="accent1"/>
          </a:solidFill>
          <a:ln w="25400">
            <a:solidFill>
              <a:srgbClr val="B64000"/>
            </a:solidFill>
            <a:miter lim="800000"/>
            <a:headEnd/>
            <a:tailEnd/>
          </a:ln>
        </p:spPr>
        <p:txBody>
          <a:bodyPr vert="eaVert" anchor="ctr"/>
          <a:lstStyle/>
          <a:p>
            <a:pPr algn="ctr"/>
            <a:endParaRPr lang="en-US"/>
          </a:p>
        </p:txBody>
      </p:sp>
      <p:sp>
        <p:nvSpPr>
          <p:cNvPr id="7" name="Up-Down Arrow 6"/>
          <p:cNvSpPr/>
          <p:nvPr/>
        </p:nvSpPr>
        <p:spPr>
          <a:xfrm>
            <a:off x="457200" y="1685925"/>
            <a:ext cx="500063" cy="3254375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>
                <a:solidFill>
                  <a:schemeClr val="tx1"/>
                </a:solidFill>
                <a:cs typeface="Arial" charset="0"/>
              </a:rPr>
              <a:t>Feel</a:t>
            </a:r>
          </a:p>
          <a:p>
            <a:pPr algn="ctr">
              <a:defRPr/>
            </a:pPr>
            <a:r>
              <a:rPr lang="en-GB">
                <a:solidFill>
                  <a:schemeClr val="tx1"/>
                </a:solidFill>
                <a:cs typeface="Arial" charset="0"/>
              </a:rPr>
              <a:t>ings</a:t>
            </a:r>
            <a:endParaRPr 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568325" y="5200650"/>
            <a:ext cx="7358063" cy="4905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>
                <a:solidFill>
                  <a:schemeClr val="tx1"/>
                </a:solidFill>
                <a:cs typeface="Arial" charset="0"/>
              </a:rPr>
              <a:t>Time</a:t>
            </a:r>
            <a:endParaRPr 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2028825" y="1873250"/>
            <a:ext cx="19208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Shock/Denial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243013" y="1828800"/>
            <a:ext cx="571500" cy="5715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600" dirty="0">
                <a:solidFill>
                  <a:srgbClr val="FFFFFF"/>
                </a:solidFill>
                <a:cs typeface="Arial" charset="0"/>
              </a:rPr>
              <a:t>1</a:t>
            </a:r>
            <a:endParaRPr lang="en-US" sz="16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1457325" y="2543175"/>
            <a:ext cx="571500" cy="5715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600" dirty="0">
                <a:solidFill>
                  <a:srgbClr val="FFFFFF"/>
                </a:solidFill>
                <a:cs typeface="Arial" charset="0"/>
              </a:rPr>
              <a:t>2</a:t>
            </a:r>
            <a:endParaRPr lang="en-US" sz="16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2" name="Oval 11"/>
          <p:cNvSpPr>
            <a:spLocks noChangeArrowheads="1"/>
          </p:cNvSpPr>
          <p:nvPr/>
        </p:nvSpPr>
        <p:spPr bwMode="auto">
          <a:xfrm>
            <a:off x="3243263" y="4114800"/>
            <a:ext cx="571500" cy="571500"/>
          </a:xfrm>
          <a:prstGeom prst="ellipse">
            <a:avLst/>
          </a:prstGeom>
          <a:solidFill>
            <a:srgbClr val="FFCC66"/>
          </a:solidFill>
          <a:ln w="25400">
            <a:solidFill>
              <a:srgbClr val="1E768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>
                <a:solidFill>
                  <a:srgbClr val="FFFFFF"/>
                </a:solidFill>
              </a:rPr>
              <a:t>5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5338763" y="4005263"/>
            <a:ext cx="571500" cy="571500"/>
          </a:xfrm>
          <a:prstGeom prst="ellipse">
            <a:avLst/>
          </a:prstGeom>
          <a:solidFill>
            <a:srgbClr val="00CC99"/>
          </a:solidFill>
          <a:ln w="25400">
            <a:solidFill>
              <a:srgbClr val="1E768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600">
                <a:solidFill>
                  <a:srgbClr val="FFFFFF"/>
                </a:solidFill>
              </a:rPr>
              <a:t>7</a:t>
            </a: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6596063" y="2778125"/>
            <a:ext cx="571500" cy="571500"/>
          </a:xfrm>
          <a:prstGeom prst="ellipse">
            <a:avLst/>
          </a:prstGeom>
          <a:solidFill>
            <a:srgbClr val="66FF66"/>
          </a:solidFill>
          <a:ln w="25400">
            <a:solidFill>
              <a:srgbClr val="1E768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/>
              <a:t>9</a:t>
            </a:r>
            <a:endParaRPr lang="en-US" sz="1600" dirty="0"/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1814513" y="3186113"/>
            <a:ext cx="571500" cy="571500"/>
          </a:xfrm>
          <a:prstGeom prst="ellipse">
            <a:avLst/>
          </a:prstGeom>
          <a:solidFill>
            <a:srgbClr val="FF3300"/>
          </a:solidFill>
          <a:ln w="25400">
            <a:solidFill>
              <a:srgbClr val="1E768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>
                <a:solidFill>
                  <a:srgbClr val="FFFFFF"/>
                </a:solidFill>
              </a:rPr>
              <a:t>3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386013" y="3686175"/>
            <a:ext cx="571500" cy="571500"/>
          </a:xfrm>
          <a:prstGeom prst="ellipse">
            <a:avLst/>
          </a:prstGeom>
          <a:solidFill>
            <a:srgbClr val="FF9933"/>
          </a:solidFill>
          <a:ln w="25400">
            <a:solidFill>
              <a:srgbClr val="1E768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>
                <a:solidFill>
                  <a:srgbClr val="FFFFFF"/>
                </a:solidFill>
              </a:rPr>
              <a:t>4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2243138" y="2543175"/>
            <a:ext cx="10715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Anger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2386013" y="3114675"/>
            <a:ext cx="14287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Nostalgia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6658816" y="3806264"/>
            <a:ext cx="17859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Readjustment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20" name="TextBox 20"/>
          <p:cNvSpPr txBox="1">
            <a:spLocks noChangeArrowheads="1"/>
          </p:cNvSpPr>
          <p:nvPr/>
        </p:nvSpPr>
        <p:spPr bwMode="auto">
          <a:xfrm>
            <a:off x="7226113" y="2930525"/>
            <a:ext cx="17145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Commitment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21" name="TextBox 21"/>
          <p:cNvSpPr txBox="1">
            <a:spLocks noChangeArrowheads="1"/>
          </p:cNvSpPr>
          <p:nvPr/>
        </p:nvSpPr>
        <p:spPr bwMode="auto">
          <a:xfrm>
            <a:off x="2973388" y="3543300"/>
            <a:ext cx="14287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Fear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22" name="TextBox 22"/>
          <p:cNvSpPr txBox="1">
            <a:spLocks noChangeArrowheads="1"/>
          </p:cNvSpPr>
          <p:nvPr/>
        </p:nvSpPr>
        <p:spPr bwMode="auto">
          <a:xfrm>
            <a:off x="5877206" y="4374497"/>
            <a:ext cx="207168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Curiosity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23" name="TextBox 23"/>
          <p:cNvSpPr txBox="1">
            <a:spLocks noChangeArrowheads="1"/>
          </p:cNvSpPr>
          <p:nvPr/>
        </p:nvSpPr>
        <p:spPr bwMode="auto">
          <a:xfrm>
            <a:off x="3600450" y="3790950"/>
            <a:ext cx="14287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b="1" dirty="0">
                <a:ea typeface="ヒラギノ角ゴ Pro W3"/>
                <a:cs typeface="ヒラギノ角ゴ Pro W3"/>
              </a:rPr>
              <a:t>Bargaining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24" name="Oval 23"/>
          <p:cNvSpPr>
            <a:spLocks noChangeArrowheads="1"/>
          </p:cNvSpPr>
          <p:nvPr/>
        </p:nvSpPr>
        <p:spPr bwMode="auto">
          <a:xfrm>
            <a:off x="6848475" y="2000250"/>
            <a:ext cx="571500" cy="571500"/>
          </a:xfrm>
          <a:prstGeom prst="ellipse">
            <a:avLst/>
          </a:prstGeom>
          <a:solidFill>
            <a:srgbClr val="00CC00"/>
          </a:solidFill>
          <a:ln w="25400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50" dirty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rPr>
              <a:t>10</a:t>
            </a:r>
          </a:p>
        </p:txBody>
      </p:sp>
      <p:sp>
        <p:nvSpPr>
          <p:cNvPr id="25" name="Oval 24"/>
          <p:cNvSpPr>
            <a:spLocks noChangeArrowheads="1"/>
          </p:cNvSpPr>
          <p:nvPr/>
        </p:nvSpPr>
        <p:spPr bwMode="auto">
          <a:xfrm>
            <a:off x="4171950" y="4186238"/>
            <a:ext cx="571500" cy="571500"/>
          </a:xfrm>
          <a:prstGeom prst="ellipse">
            <a:avLst/>
          </a:prstGeom>
          <a:solidFill>
            <a:schemeClr val="bg2"/>
          </a:solidFill>
          <a:ln w="25400">
            <a:solidFill>
              <a:srgbClr val="1E768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600"/>
              <a:t>6</a:t>
            </a:r>
            <a:endParaRPr lang="en-US" sz="1600"/>
          </a:p>
        </p:txBody>
      </p:sp>
      <p:sp>
        <p:nvSpPr>
          <p:cNvPr id="26" name="Oval 25"/>
          <p:cNvSpPr>
            <a:spLocks noChangeArrowheads="1"/>
          </p:cNvSpPr>
          <p:nvPr/>
        </p:nvSpPr>
        <p:spPr bwMode="auto">
          <a:xfrm>
            <a:off x="6081713" y="3492500"/>
            <a:ext cx="571500" cy="571500"/>
          </a:xfrm>
          <a:prstGeom prst="ellipse">
            <a:avLst/>
          </a:prstGeom>
          <a:solidFill>
            <a:srgbClr val="00CC66"/>
          </a:solidFill>
          <a:ln w="25400">
            <a:solidFill>
              <a:srgbClr val="1E768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600" dirty="0">
                <a:solidFill>
                  <a:srgbClr val="FFFFFF"/>
                </a:solidFill>
              </a:rPr>
              <a:t>8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7" name="TextBox 26"/>
          <p:cNvSpPr txBox="1">
            <a:spLocks noChangeArrowheads="1"/>
          </p:cNvSpPr>
          <p:nvPr/>
        </p:nvSpPr>
        <p:spPr bwMode="auto">
          <a:xfrm>
            <a:off x="3463925" y="4752975"/>
            <a:ext cx="2071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b="1" dirty="0">
                <a:ea typeface="ヒラギノ角ゴ Pro W3"/>
                <a:cs typeface="ヒラギノ角ゴ Pro W3"/>
              </a:rPr>
              <a:t>Choice/Decision</a:t>
            </a:r>
            <a:endParaRPr lang="en-US" b="1" dirty="0">
              <a:ea typeface="ヒラギノ角ゴ Pro W3"/>
              <a:cs typeface="ヒラギノ角ゴ Pro W3"/>
            </a:endParaRPr>
          </a:p>
        </p:txBody>
      </p:sp>
      <p:sp>
        <p:nvSpPr>
          <p:cNvPr id="4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mentum participants rate the status of </a:t>
            </a:r>
            <a:r>
              <a:rPr lang="en-US" dirty="0" err="1" smtClean="0"/>
              <a:t>OneS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96FF82-DDEE-4F22-B5EE-C9D4FF5B8D49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graphicFrame>
        <p:nvGraphicFramePr>
          <p:cNvPr id="7" name="Chart 6"/>
          <p:cNvGraphicFramePr/>
          <p:nvPr/>
        </p:nvGraphicFramePr>
        <p:xfrm>
          <a:off x="677732" y="1674322"/>
          <a:ext cx="7395751" cy="489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Oval Callout 7"/>
          <p:cNvSpPr/>
          <p:nvPr/>
        </p:nvSpPr>
        <p:spPr bwMode="auto">
          <a:xfrm>
            <a:off x="1916037" y="1455559"/>
            <a:ext cx="2501154" cy="1709529"/>
          </a:xfrm>
          <a:prstGeom prst="wedgeEllipseCallout">
            <a:avLst>
              <a:gd name="adj1" fmla="val 120696"/>
              <a:gd name="adj2" fmla="val 27489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b="1" dirty="0" smtClean="0"/>
          </a:p>
          <a:p>
            <a:pPr algn="ctr">
              <a:spcBef>
                <a:spcPct val="50000"/>
              </a:spcBef>
            </a:pPr>
            <a:r>
              <a:rPr lang="en-US" sz="1400" b="1" dirty="0" smtClean="0"/>
              <a:t>70 % see </a:t>
            </a:r>
            <a:r>
              <a:rPr lang="en-GB" sz="1400" b="1" dirty="0" err="1" smtClean="0"/>
              <a:t>OneSES</a:t>
            </a:r>
            <a:r>
              <a:rPr lang="en-GB" sz="1400" b="1" dirty="0" smtClean="0"/>
              <a:t> change process in advanced stage </a:t>
            </a:r>
          </a:p>
          <a:p>
            <a:pPr>
              <a:spcBef>
                <a:spcPct val="50000"/>
              </a:spcBef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Oval Callout 9"/>
          <p:cNvSpPr/>
          <p:nvPr/>
        </p:nvSpPr>
        <p:spPr bwMode="auto">
          <a:xfrm>
            <a:off x="1613647" y="2810435"/>
            <a:ext cx="1385047" cy="820271"/>
          </a:xfrm>
          <a:prstGeom prst="wedgeEllipseCallou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 bwMode="auto">
          <a:xfrm flipV="1">
            <a:off x="4984595" y="2297151"/>
            <a:ext cx="0" cy="3033133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 flipV="1">
            <a:off x="7924745" y="2296188"/>
            <a:ext cx="0" cy="3033133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Box 10"/>
          <p:cNvSpPr txBox="1"/>
          <p:nvPr/>
        </p:nvSpPr>
        <p:spPr>
          <a:xfrm>
            <a:off x="774550" y="6529892"/>
            <a:ext cx="27754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Based on feedback of 172 employees</a:t>
            </a:r>
            <a:endParaRPr lang="en-US" i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4" descr="SES_BeamShape_2_CM_rgb-office"/>
          <p:cNvPicPr>
            <a:picLocks noChangeAspect="1" noChangeArrowheads="1"/>
          </p:cNvPicPr>
          <p:nvPr/>
        </p:nvPicPr>
        <p:blipFill>
          <a:blip r:embed="rId2" cstate="print"/>
          <a:srcRect b="17563"/>
          <a:stretch>
            <a:fillRect/>
          </a:stretch>
        </p:blipFill>
        <p:spPr bwMode="auto">
          <a:xfrm>
            <a:off x="0" y="0"/>
            <a:ext cx="594042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3" name="Rectangle 5"/>
          <p:cNvSpPr>
            <a:spLocks noChangeArrowheads="1"/>
          </p:cNvSpPr>
          <p:nvPr/>
        </p:nvSpPr>
        <p:spPr bwMode="auto">
          <a:xfrm>
            <a:off x="718706" y="3270325"/>
            <a:ext cx="6962253" cy="18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b"/>
          <a:lstStyle/>
          <a:p>
            <a:pPr lvl="1"/>
            <a:r>
              <a:rPr lang="de-DE" sz="2800" b="1" dirty="0" smtClean="0"/>
              <a:t>We all need to embrace change</a:t>
            </a:r>
            <a:br>
              <a:rPr lang="de-DE" sz="2800" b="1" dirty="0" smtClean="0"/>
            </a:br>
            <a:r>
              <a:rPr lang="de-DE" sz="2800" b="1" dirty="0" smtClean="0"/>
              <a:t>and focus on growing the business</a:t>
            </a:r>
          </a:p>
          <a:p>
            <a:pPr lvl="1"/>
            <a:endParaRPr lang="de-DE" sz="2000" b="1" dirty="0" smtClean="0"/>
          </a:p>
          <a:p>
            <a:pPr lvl="1">
              <a:buNone/>
            </a:pPr>
            <a:r>
              <a:rPr lang="de-DE" sz="1800" b="1" dirty="0" smtClean="0">
                <a:solidFill>
                  <a:schemeClr val="accent1"/>
                </a:solidFill>
              </a:rPr>
              <a:t>Change is constant and inevitable !</a:t>
            </a:r>
            <a:endParaRPr lang="de-DE" b="1" dirty="0" smtClean="0">
              <a:solidFill>
                <a:srgbClr val="B44682"/>
              </a:solidFill>
            </a:endParaRPr>
          </a:p>
        </p:txBody>
      </p:sp>
      <p:pic>
        <p:nvPicPr>
          <p:cNvPr id="25604" name="Bild 11" descr="horizon_schwarz.psd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2750" y="5432425"/>
            <a:ext cx="41402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 bwMode="auto">
          <a:xfrm>
            <a:off x="5389581" y="1043492"/>
            <a:ext cx="3431690" cy="92515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380288" y="6448425"/>
            <a:ext cx="1223962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22</a:t>
            </a:fld>
            <a:endParaRPr lang="de-DE" sz="1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4" descr="SES_BeamShape_2_CM_rgb-office"/>
          <p:cNvPicPr>
            <a:picLocks noChangeAspect="1" noChangeArrowheads="1"/>
          </p:cNvPicPr>
          <p:nvPr/>
        </p:nvPicPr>
        <p:blipFill>
          <a:blip r:embed="rId2" cstate="print"/>
          <a:srcRect b="17563"/>
          <a:stretch>
            <a:fillRect/>
          </a:stretch>
        </p:blipFill>
        <p:spPr bwMode="auto">
          <a:xfrm>
            <a:off x="0" y="0"/>
            <a:ext cx="594042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3" name="Rectangle 5"/>
          <p:cNvSpPr>
            <a:spLocks noChangeArrowheads="1"/>
          </p:cNvSpPr>
          <p:nvPr/>
        </p:nvSpPr>
        <p:spPr bwMode="auto">
          <a:xfrm>
            <a:off x="1075765" y="4250262"/>
            <a:ext cx="7906870" cy="92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b"/>
          <a:lstStyle/>
          <a:p>
            <a:r>
              <a:rPr lang="de-DE" sz="5200" b="1" dirty="0" smtClean="0"/>
              <a:t>Your questions, please ! </a:t>
            </a:r>
            <a:endParaRPr lang="de-DE" sz="5200" b="1" dirty="0"/>
          </a:p>
        </p:txBody>
      </p:sp>
      <p:pic>
        <p:nvPicPr>
          <p:cNvPr id="25604" name="Bild 11" descr="horizon_schwarz.psd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2750" y="5432425"/>
            <a:ext cx="41402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5" name="Bild 12" descr="SES_Logo_claim_BL_rgb.eps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42188" y="195263"/>
            <a:ext cx="1584325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56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56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SES_BeamShape_2_CM_rgb-office"/>
          <p:cNvPicPr>
            <a:picLocks noChangeAspect="1" noChangeArrowheads="1"/>
          </p:cNvPicPr>
          <p:nvPr/>
        </p:nvPicPr>
        <p:blipFill>
          <a:blip r:embed="rId2" cstate="print"/>
          <a:srcRect b="17563"/>
          <a:stretch>
            <a:fillRect/>
          </a:stretch>
        </p:blipFill>
        <p:spPr bwMode="auto">
          <a:xfrm>
            <a:off x="0" y="0"/>
            <a:ext cx="594042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611188" y="3849688"/>
            <a:ext cx="7488237" cy="863600"/>
          </a:xfrm>
        </p:spPr>
        <p:txBody>
          <a:bodyPr/>
          <a:lstStyle/>
          <a:p>
            <a:r>
              <a:rPr lang="en-US" dirty="0" err="1" smtClean="0"/>
              <a:t>OneSES</a:t>
            </a:r>
            <a:r>
              <a:rPr lang="en-US" dirty="0" smtClean="0"/>
              <a:t> – status update</a:t>
            </a:r>
            <a:endParaRPr lang="de-DE" dirty="0" smtClean="0"/>
          </a:p>
        </p:txBody>
      </p:sp>
      <p:sp>
        <p:nvSpPr>
          <p:cNvPr id="6148" name="Line 5"/>
          <p:cNvSpPr>
            <a:spLocks noChangeShapeType="1"/>
          </p:cNvSpPr>
          <p:nvPr/>
        </p:nvSpPr>
        <p:spPr bwMode="auto">
          <a:xfrm>
            <a:off x="611188" y="4821238"/>
            <a:ext cx="7989887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6149" name="Bild 1" descr="SES_Logo_M_lay.eps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62888" y="269875"/>
            <a:ext cx="911225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380288" y="6448425"/>
            <a:ext cx="1223962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3</a:t>
            </a:fld>
            <a:endParaRPr lang="de-DE" sz="10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6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4</a:t>
            </a:fld>
            <a:endParaRPr lang="de-DE" sz="100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neSES</a:t>
            </a:r>
            <a:r>
              <a:rPr lang="en-US" dirty="0" smtClean="0"/>
              <a:t> – We have come a long way</a:t>
            </a:r>
            <a:endParaRPr lang="de-DE" dirty="0" smtClean="0"/>
          </a:p>
        </p:txBody>
      </p:sp>
      <p:sp>
        <p:nvSpPr>
          <p:cNvPr id="2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973444" y="1613650"/>
            <a:ext cx="3821019" cy="936000"/>
          </a:xfrm>
          <a:prstGeom prst="chevron">
            <a:avLst>
              <a:gd name="adj" fmla="val 29670"/>
            </a:avLst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r>
              <a:rPr lang="en-US" sz="1300" b="1" dirty="0" smtClean="0">
                <a:solidFill>
                  <a:schemeClr val="bg1"/>
                </a:solidFill>
                <a:cs typeface="Arial" charset="0"/>
              </a:rPr>
              <a:t>New operating model</a:t>
            </a:r>
            <a:endParaRPr lang="en-US" sz="13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0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48304" y="1601594"/>
            <a:ext cx="2914347" cy="936000"/>
          </a:xfrm>
          <a:prstGeom prst="chevron">
            <a:avLst>
              <a:gd name="adj" fmla="val 29670"/>
            </a:avLst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r>
              <a:rPr lang="en-US" sz="1300" b="1" dirty="0" smtClean="0">
                <a:solidFill>
                  <a:schemeClr val="bg1"/>
                </a:solidFill>
                <a:cs typeface="Arial" charset="0"/>
              </a:rPr>
              <a:t>New  </a:t>
            </a:r>
            <a:r>
              <a:rPr lang="en-US" sz="1300" b="1" dirty="0" err="1" smtClean="0">
                <a:solidFill>
                  <a:schemeClr val="bg1"/>
                </a:solidFill>
                <a:cs typeface="Arial" charset="0"/>
              </a:rPr>
              <a:t>organisation</a:t>
            </a:r>
            <a:r>
              <a:rPr lang="en-US" sz="1300" b="1" dirty="0" smtClean="0">
                <a:solidFill>
                  <a:schemeClr val="bg1"/>
                </a:solidFill>
                <a:cs typeface="Arial" charset="0"/>
              </a:rPr>
              <a:t> design</a:t>
            </a:r>
            <a:endParaRPr lang="en-US" sz="13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2800" y="1589541"/>
            <a:ext cx="1682944" cy="936000"/>
          </a:xfrm>
          <a:prstGeom prst="chevron">
            <a:avLst>
              <a:gd name="adj" fmla="val 29670"/>
            </a:avLst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08000" rIns="72000" anchor="ctr"/>
          <a:lstStyle/>
          <a:p>
            <a:pPr algn="ctr" eaLnBrk="0" hangingPunct="0"/>
            <a:r>
              <a:rPr lang="en-US" sz="1300" b="1" dirty="0">
                <a:solidFill>
                  <a:schemeClr val="bg1"/>
                </a:solidFill>
                <a:cs typeface="Arial" charset="0"/>
              </a:rPr>
              <a:t>Preparation</a:t>
            </a:r>
          </a:p>
        </p:txBody>
      </p:sp>
      <p:sp>
        <p:nvSpPr>
          <p:cNvPr id="32" name="Isosceles Triangle 1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63471" y="2252852"/>
            <a:ext cx="312737" cy="271463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3" name="TextBox 1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82261" y="2458735"/>
            <a:ext cx="80823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25000"/>
              </a:spcBef>
              <a:buSzPct val="80000"/>
            </a:pPr>
            <a:r>
              <a:rPr lang="en-US" dirty="0"/>
              <a:t>Oct 2010</a:t>
            </a:r>
          </a:p>
        </p:txBody>
      </p:sp>
      <p:sp>
        <p:nvSpPr>
          <p:cNvPr id="36" name="AutoShap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39217" y="5065274"/>
            <a:ext cx="3865186" cy="936000"/>
          </a:xfrm>
          <a:prstGeom prst="chevron">
            <a:avLst>
              <a:gd name="adj" fmla="val 29667"/>
            </a:avLst>
          </a:prstGeom>
          <a:solidFill>
            <a:schemeClr val="hlink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r>
              <a:rPr lang="en-US" sz="1300" b="1" dirty="0">
                <a:solidFill>
                  <a:srgbClr val="FFFFFF"/>
                </a:solidFill>
                <a:cs typeface="Arial" charset="0"/>
              </a:rPr>
              <a:t>SES </a:t>
            </a:r>
            <a:r>
              <a:rPr lang="en-US" sz="1300" b="1" dirty="0" smtClean="0">
                <a:solidFill>
                  <a:srgbClr val="FFFFFF"/>
                </a:solidFill>
                <a:cs typeface="Arial" charset="0"/>
              </a:rPr>
              <a:t>operating </a:t>
            </a:r>
            <a:r>
              <a:rPr lang="en-US" sz="1300" b="1" dirty="0">
                <a:solidFill>
                  <a:srgbClr val="FFFFFF"/>
                </a:solidFill>
                <a:cs typeface="Arial" charset="0"/>
              </a:rPr>
              <a:t>m</a:t>
            </a:r>
            <a:r>
              <a:rPr lang="en-US" sz="1300" b="1" dirty="0" smtClean="0">
                <a:solidFill>
                  <a:srgbClr val="FFFFFF"/>
                </a:solidFill>
                <a:cs typeface="Arial" charset="0"/>
              </a:rPr>
              <a:t>odel </a:t>
            </a:r>
            <a:r>
              <a:rPr lang="en-US" sz="1300" b="1" dirty="0">
                <a:solidFill>
                  <a:srgbClr val="FFFFFF"/>
                </a:solidFill>
                <a:cs typeface="Arial" charset="0"/>
              </a:rPr>
              <a:t>i</a:t>
            </a:r>
            <a:r>
              <a:rPr lang="en-US" sz="1300" b="1" dirty="0" smtClean="0">
                <a:solidFill>
                  <a:srgbClr val="FFFFFF"/>
                </a:solidFill>
                <a:cs typeface="Arial" charset="0"/>
              </a:rPr>
              <a:t>mprovement</a:t>
            </a:r>
            <a:endParaRPr lang="en-US" sz="13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7" name="Isosceles Triangle 3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51044" y="5731926"/>
            <a:ext cx="318312" cy="269875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4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951145" y="2741809"/>
            <a:ext cx="2852086" cy="936000"/>
          </a:xfrm>
          <a:prstGeom prst="chevron">
            <a:avLst>
              <a:gd name="adj" fmla="val 29677"/>
            </a:avLst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r>
              <a:rPr lang="en-US" sz="1300" b="1" dirty="0" smtClean="0">
                <a:solidFill>
                  <a:schemeClr val="bg1"/>
                </a:solidFill>
                <a:cs typeface="Arial" charset="0"/>
              </a:rPr>
              <a:t>New SES brand identity</a:t>
            </a:r>
            <a:endParaRPr lang="en-US" sz="13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7" name="Isosceles Tri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60436" y="2264707"/>
            <a:ext cx="312737" cy="271463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9" name="Isosceles Triangle 1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920839" y="3409126"/>
            <a:ext cx="312737" cy="271463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0" name="TextBox 19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394699" y="2476367"/>
            <a:ext cx="82086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25000"/>
              </a:spcBef>
              <a:buSzPct val="80000"/>
            </a:pPr>
            <a:r>
              <a:rPr lang="en-US" dirty="0" smtClean="0"/>
              <a:t>Feb 2011</a:t>
            </a:r>
            <a:endParaRPr lang="en-US" dirty="0"/>
          </a:p>
        </p:txBody>
      </p:sp>
      <p:sp>
        <p:nvSpPr>
          <p:cNvPr id="51" name="TextBox 1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326462" y="2481333"/>
            <a:ext cx="8616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Bef>
                <a:spcPct val="25000"/>
              </a:spcBef>
              <a:buSzPct val="80000"/>
            </a:pPr>
            <a:r>
              <a:rPr lang="en-US" dirty="0" smtClean="0"/>
              <a:t>May 2011</a:t>
            </a:r>
            <a:endParaRPr lang="en-US" dirty="0"/>
          </a:p>
        </p:txBody>
      </p:sp>
      <p:sp>
        <p:nvSpPr>
          <p:cNvPr id="52" name="TextBox 1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150022" y="3613556"/>
            <a:ext cx="82888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25000"/>
              </a:spcBef>
              <a:buSzPct val="80000"/>
            </a:pPr>
            <a:r>
              <a:rPr lang="en-US" dirty="0" smtClean="0"/>
              <a:t>Sep 2011</a:t>
            </a:r>
            <a:endParaRPr lang="en-US" dirty="0"/>
          </a:p>
        </p:txBody>
      </p:sp>
      <p:sp>
        <p:nvSpPr>
          <p:cNvPr id="24" name="TextBox 1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209906" y="5937441"/>
            <a:ext cx="12694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Bef>
                <a:spcPct val="25000"/>
              </a:spcBef>
              <a:buSzPct val="80000"/>
            </a:pPr>
            <a:r>
              <a:rPr lang="en-US" dirty="0" smtClean="0"/>
              <a:t>since May 2011</a:t>
            </a:r>
            <a:endParaRPr lang="en-US" dirty="0"/>
          </a:p>
        </p:txBody>
      </p:sp>
      <p:sp>
        <p:nvSpPr>
          <p:cNvPr id="25" name="Isosceles Tri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005687" y="2278715"/>
            <a:ext cx="318311" cy="271463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422315" y="3902739"/>
            <a:ext cx="2376543" cy="936000"/>
          </a:xfrm>
          <a:prstGeom prst="chevron">
            <a:avLst>
              <a:gd name="adj" fmla="val 29677"/>
            </a:avLst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r>
              <a:rPr lang="en-US" sz="1300" b="1" dirty="0" smtClean="0">
                <a:solidFill>
                  <a:schemeClr val="bg1"/>
                </a:solidFill>
                <a:cs typeface="Arial" charset="0"/>
              </a:rPr>
              <a:t>Momentum:</a:t>
            </a:r>
            <a:br>
              <a:rPr lang="en-US" sz="1300" b="1" dirty="0" smtClean="0">
                <a:solidFill>
                  <a:schemeClr val="bg1"/>
                </a:solidFill>
                <a:cs typeface="Arial" charset="0"/>
              </a:rPr>
            </a:br>
            <a:r>
              <a:rPr lang="en-US" sz="1300" b="1" dirty="0" smtClean="0">
                <a:solidFill>
                  <a:schemeClr val="bg1"/>
                </a:solidFill>
                <a:cs typeface="Arial" charset="0"/>
              </a:rPr>
              <a:t>Change Readiness</a:t>
            </a:r>
            <a:endParaRPr lang="en-US" sz="13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1" name="TextBox 1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686422" y="4757732"/>
            <a:ext cx="12408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25000"/>
              </a:spcBef>
              <a:buSzPct val="80000"/>
            </a:pPr>
            <a:r>
              <a:rPr lang="en-US" dirty="0" smtClean="0"/>
              <a:t>since Oct. 2011</a:t>
            </a:r>
            <a:endParaRPr lang="en-US" dirty="0"/>
          </a:p>
        </p:txBody>
      </p:sp>
      <p:sp>
        <p:nvSpPr>
          <p:cNvPr id="22" name="Isosceles Triangle 1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442074" y="4576892"/>
            <a:ext cx="312737" cy="271463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182880" anchor="ctr"/>
          <a:lstStyle/>
          <a:p>
            <a:pPr algn="ctr" eaLnBrk="0" hangingPunct="0"/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5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55431" y="1549890"/>
            <a:ext cx="8387846" cy="5160193"/>
          </a:xfrm>
        </p:spPr>
        <p:txBody>
          <a:bodyPr/>
          <a:lstStyle/>
          <a:p>
            <a:pPr lvl="1"/>
            <a:r>
              <a:rPr lang="en-US" dirty="0" smtClean="0"/>
              <a:t>Legal</a:t>
            </a:r>
          </a:p>
          <a:p>
            <a:pPr lvl="2"/>
            <a:r>
              <a:rPr lang="en-US" dirty="0" smtClean="0"/>
              <a:t>Adapting the legal </a:t>
            </a:r>
            <a:r>
              <a:rPr lang="en-US" dirty="0" err="1" smtClean="0"/>
              <a:t>organisation</a:t>
            </a:r>
            <a:r>
              <a:rPr lang="en-US" dirty="0" smtClean="0"/>
              <a:t> to better support the business following the </a:t>
            </a:r>
            <a:br>
              <a:rPr lang="en-US" dirty="0" smtClean="0"/>
            </a:br>
            <a:r>
              <a:rPr lang="en-US" dirty="0" err="1" smtClean="0"/>
              <a:t>OneSES</a:t>
            </a:r>
            <a:r>
              <a:rPr lang="en-US" dirty="0" smtClean="0"/>
              <a:t> </a:t>
            </a:r>
            <a:r>
              <a:rPr lang="en-US" dirty="0" err="1" smtClean="0"/>
              <a:t>reorganisation</a:t>
            </a:r>
            <a:endParaRPr lang="en-US" dirty="0" smtClean="0"/>
          </a:p>
          <a:p>
            <a:pPr lvl="1"/>
            <a:r>
              <a:rPr lang="en-US" dirty="0" smtClean="0"/>
              <a:t>Space Operations</a:t>
            </a:r>
          </a:p>
          <a:p>
            <a:pPr lvl="2"/>
            <a:r>
              <a:rPr lang="en-US" dirty="0" smtClean="0"/>
              <a:t>Strengthening customer support in spacecraft fleet operations</a:t>
            </a:r>
          </a:p>
          <a:p>
            <a:pPr lvl="2"/>
            <a:r>
              <a:rPr lang="en-US" dirty="0" smtClean="0"/>
              <a:t>Planning for </a:t>
            </a:r>
            <a:r>
              <a:rPr lang="en-US" dirty="0" err="1" smtClean="0"/>
              <a:t>centralised</a:t>
            </a:r>
            <a:r>
              <a:rPr lang="en-US" dirty="0" smtClean="0"/>
              <a:t> US space operations in Princeton area on course</a:t>
            </a:r>
          </a:p>
          <a:p>
            <a:pPr lvl="1"/>
            <a:r>
              <a:rPr lang="en-US" dirty="0" smtClean="0"/>
              <a:t>Commercial</a:t>
            </a:r>
          </a:p>
          <a:p>
            <a:pPr lvl="2"/>
            <a:r>
              <a:rPr lang="de-DE" dirty="0" smtClean="0"/>
              <a:t>Adapting regional structure to achieve planned sales growth in 2012 and beyond</a:t>
            </a:r>
          </a:p>
          <a:p>
            <a:pPr lvl="2"/>
            <a:r>
              <a:rPr lang="de-DE" dirty="0" smtClean="0"/>
              <a:t>Aligning sales support functions for more transparent and fact-based sales management</a:t>
            </a:r>
          </a:p>
          <a:p>
            <a:pPr lvl="1"/>
            <a:r>
              <a:rPr lang="de-DE" dirty="0" smtClean="0"/>
              <a:t>Development</a:t>
            </a:r>
          </a:p>
          <a:p>
            <a:pPr lvl="2"/>
            <a:r>
              <a:rPr lang="en-US" dirty="0" smtClean="0"/>
              <a:t>Readjusting defined development activities to further improve</a:t>
            </a:r>
            <a:br>
              <a:rPr lang="en-US" dirty="0" smtClean="0"/>
            </a:br>
            <a:r>
              <a:rPr lang="en-US" dirty="0" smtClean="0"/>
              <a:t>strategic alignment and to ensure efficient coordination with Commercial</a:t>
            </a:r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>
          <a:xfrm>
            <a:off x="611188" y="179388"/>
            <a:ext cx="7306440" cy="989012"/>
          </a:xfrm>
        </p:spPr>
        <p:txBody>
          <a:bodyPr/>
          <a:lstStyle/>
          <a:p>
            <a:r>
              <a:rPr lang="en-US" dirty="0" err="1" smtClean="0"/>
              <a:t>OneSES</a:t>
            </a:r>
            <a:r>
              <a:rPr lang="en-US" dirty="0" smtClean="0"/>
              <a:t> – Operating model improvement</a:t>
            </a:r>
            <a:endParaRPr lang="de-DE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6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55431" y="1549891"/>
            <a:ext cx="8387846" cy="4797122"/>
          </a:xfrm>
        </p:spPr>
        <p:txBody>
          <a:bodyPr/>
          <a:lstStyle/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ng model improvement – Commercial</a:t>
            </a:r>
            <a:endParaRPr lang="de-DE" dirty="0" smtClean="0"/>
          </a:p>
        </p:txBody>
      </p:sp>
      <p:graphicFrame>
        <p:nvGraphicFramePr>
          <p:cNvPr id="6" name="Diagram 5"/>
          <p:cNvGraphicFramePr/>
          <p:nvPr/>
        </p:nvGraphicFramePr>
        <p:xfrm>
          <a:off x="1000469" y="2732740"/>
          <a:ext cx="7230029" cy="2968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43262" y="1791154"/>
            <a:ext cx="1479176" cy="523220"/>
          </a:xfrm>
          <a:prstGeom prst="rect">
            <a:avLst/>
          </a:prstGeom>
          <a:solidFill>
            <a:schemeClr val="bg1"/>
          </a:solidFill>
          <a:ln w="50800">
            <a:solidFill>
              <a:srgbClr val="B4468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1"/>
                </a:solidFill>
              </a:rPr>
              <a:t>TODAY</a:t>
            </a:r>
            <a:endParaRPr lang="en-US" sz="2800" b="1" dirty="0">
              <a:solidFill>
                <a:schemeClr val="accent1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/>
        </p:nvGraphicFramePr>
        <p:xfrm>
          <a:off x="290456" y="1194099"/>
          <a:ext cx="8450133" cy="5475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7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55431" y="1549890"/>
            <a:ext cx="8387846" cy="4528181"/>
          </a:xfrm>
        </p:spPr>
        <p:txBody>
          <a:bodyPr/>
          <a:lstStyle/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ng model improvement – Commercial</a:t>
            </a:r>
            <a:endParaRPr lang="de-DE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03412" y="1748124"/>
            <a:ext cx="1290917" cy="523220"/>
          </a:xfrm>
          <a:prstGeom prst="rect">
            <a:avLst/>
          </a:prstGeom>
          <a:solidFill>
            <a:schemeClr val="bg1"/>
          </a:solidFill>
          <a:ln w="50800">
            <a:solidFill>
              <a:srgbClr val="B4468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1"/>
                </a:solidFill>
              </a:rPr>
              <a:t>NEW</a:t>
            </a:r>
            <a:endParaRPr lang="en-US" sz="2800" b="1" dirty="0">
              <a:solidFill>
                <a:schemeClr val="accent1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/>
        </p:nvGraphicFramePr>
        <p:xfrm>
          <a:off x="578223" y="1425389"/>
          <a:ext cx="8364071" cy="5257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8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55431" y="1549890"/>
            <a:ext cx="8387846" cy="4345301"/>
          </a:xfrm>
        </p:spPr>
        <p:txBody>
          <a:bodyPr/>
          <a:lstStyle/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ng model improvement –Development</a:t>
            </a:r>
            <a:endParaRPr lang="de-DE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24927" y="1855700"/>
            <a:ext cx="1492623" cy="523220"/>
          </a:xfrm>
          <a:prstGeom prst="rect">
            <a:avLst/>
          </a:prstGeom>
          <a:solidFill>
            <a:schemeClr val="bg1"/>
          </a:solidFill>
          <a:ln w="50800">
            <a:solidFill>
              <a:srgbClr val="B4468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1"/>
                </a:solidFill>
              </a:rPr>
              <a:t>TODAY</a:t>
            </a:r>
            <a:endParaRPr lang="en-US" sz="2800" b="1" dirty="0">
              <a:solidFill>
                <a:schemeClr val="accent1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11188" y="6448425"/>
            <a:ext cx="5545137" cy="17938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r>
              <a:rPr lang="de-DE" sz="1000" dirty="0" smtClean="0"/>
              <a:t>All-staff meeting 9 December 2011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/>
        </p:nvGraphicFramePr>
        <p:xfrm>
          <a:off x="282388" y="1425389"/>
          <a:ext cx="8659907" cy="5271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5420BE54-0BE9-4705-9194-DF0631BA76E9}" type="slidenum">
              <a:rPr lang="de-DE" sz="1000" smtClean="0"/>
              <a:pPr eaLnBrk="1" hangingPunct="1">
                <a:spcBef>
                  <a:spcPct val="0"/>
                </a:spcBef>
                <a:defRPr/>
              </a:pPr>
              <a:t>9</a:t>
            </a:fld>
            <a:endParaRPr lang="de-DE" sz="1000" smtClean="0"/>
          </a:p>
        </p:txBody>
      </p:sp>
      <p:sp>
        <p:nvSpPr>
          <p:cNvPr id="819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55431" y="1549891"/>
            <a:ext cx="8387846" cy="4538938"/>
          </a:xfrm>
        </p:spPr>
        <p:txBody>
          <a:bodyPr/>
          <a:lstStyle/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marL="0" indent="0"/>
            <a:endParaRPr lang="de-DE" dirty="0" smtClean="0"/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ng model improvement –Development</a:t>
            </a:r>
            <a:endParaRPr lang="de-DE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03412" y="1748124"/>
            <a:ext cx="1546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2"/>
                </a:solidFill>
              </a:rPr>
              <a:t>NEW</a:t>
            </a:r>
            <a:endParaRPr lang="en-US" sz="2800" b="1" dirty="0">
              <a:solidFill>
                <a:schemeClr val="accent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3412" y="1748124"/>
            <a:ext cx="1290917" cy="523220"/>
          </a:xfrm>
          <a:prstGeom prst="rect">
            <a:avLst/>
          </a:prstGeom>
          <a:solidFill>
            <a:schemeClr val="bg1"/>
          </a:solidFill>
          <a:ln w="50800">
            <a:solidFill>
              <a:srgbClr val="B4468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1"/>
                </a:solidFill>
              </a:rPr>
              <a:t>NEW</a:t>
            </a:r>
            <a:endParaRPr lang="en-US" sz="28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L6xJXb9USYISwGWD7X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GnqUH8rE.IuxfjJBon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bUzA.0Eik0ob27hQX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bUzA.0Eik0ob27hQX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bUzA.0Eik0ob27hQX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bUzA.0Eik0ob27hQX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GnqUH8rE.IuxfjJBon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3r0emi5Uy4_6rBsbpd7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bUzA.0Eik0ob27hQX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GnqUH8rE.IuxfjJBon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Z4D._jWEyZXCO0Ig18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cyLBWOSE.6MnqtF91B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GnqUH8rE.IuxfjJBo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bUzA.0Eik0ob27hQX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4fcNt42E6LljIt7q7x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3D2u12W0i68HBi1nZm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3r0emi5Uy4_6rBsbpd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GnqUH8rE.IuxfjJBon1Q"/>
</p:tagLst>
</file>

<file path=ppt/theme/theme1.xml><?xml version="1.0" encoding="utf-8"?>
<a:theme xmlns:a="http://schemas.openxmlformats.org/drawingml/2006/main" name="05_Powerpoint_2003">
  <a:themeElements>
    <a:clrScheme name="110812-SES-2003 14">
      <a:dk1>
        <a:srgbClr val="000000"/>
      </a:dk1>
      <a:lt1>
        <a:srgbClr val="FFFFFF"/>
      </a:lt1>
      <a:dk2>
        <a:srgbClr val="505A64"/>
      </a:dk2>
      <a:lt2>
        <a:srgbClr val="AFB9C3"/>
      </a:lt2>
      <a:accent1>
        <a:srgbClr val="0091D2"/>
      </a:accent1>
      <a:accent2>
        <a:srgbClr val="004691"/>
      </a:accent2>
      <a:accent3>
        <a:srgbClr val="FFFFFF"/>
      </a:accent3>
      <a:accent4>
        <a:srgbClr val="000000"/>
      </a:accent4>
      <a:accent5>
        <a:srgbClr val="AAC7E5"/>
      </a:accent5>
      <a:accent6>
        <a:srgbClr val="003F83"/>
      </a:accent6>
      <a:hlink>
        <a:srgbClr val="B40082"/>
      </a:hlink>
      <a:folHlink>
        <a:srgbClr val="6E2D87"/>
      </a:folHlink>
    </a:clrScheme>
    <a:fontScheme name="110812-SES-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10812-SES-20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812-SES-20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812-SES-20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812-SES-20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812-SES-20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812-SES-20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812-SES-20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812-SES-20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812-SES-20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812-SES-20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812-SES-20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812-SES-20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812-SES-2003 13">
        <a:dk1>
          <a:srgbClr val="000000"/>
        </a:dk1>
        <a:lt1>
          <a:srgbClr val="FFFFFF"/>
        </a:lt1>
        <a:dk2>
          <a:srgbClr val="505A64"/>
        </a:dk2>
        <a:lt2>
          <a:srgbClr val="AFB9C3"/>
        </a:lt2>
        <a:accent1>
          <a:srgbClr val="0091D2"/>
        </a:accent1>
        <a:accent2>
          <a:srgbClr val="B40082"/>
        </a:accent2>
        <a:accent3>
          <a:srgbClr val="FFFFFF"/>
        </a:accent3>
        <a:accent4>
          <a:srgbClr val="000000"/>
        </a:accent4>
        <a:accent5>
          <a:srgbClr val="AAC7E5"/>
        </a:accent5>
        <a:accent6>
          <a:srgbClr val="A30075"/>
        </a:accent6>
        <a:hlink>
          <a:srgbClr val="004691"/>
        </a:hlink>
        <a:folHlink>
          <a:srgbClr val="6E2D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812-SES-2003 14">
        <a:dk1>
          <a:srgbClr val="000000"/>
        </a:dk1>
        <a:lt1>
          <a:srgbClr val="FFFFFF"/>
        </a:lt1>
        <a:dk2>
          <a:srgbClr val="505A64"/>
        </a:dk2>
        <a:lt2>
          <a:srgbClr val="AFB9C3"/>
        </a:lt2>
        <a:accent1>
          <a:srgbClr val="0091D2"/>
        </a:accent1>
        <a:accent2>
          <a:srgbClr val="004691"/>
        </a:accent2>
        <a:accent3>
          <a:srgbClr val="FFFFFF"/>
        </a:accent3>
        <a:accent4>
          <a:srgbClr val="000000"/>
        </a:accent4>
        <a:accent5>
          <a:srgbClr val="AAC7E5"/>
        </a:accent5>
        <a:accent6>
          <a:srgbClr val="003F83"/>
        </a:accent6>
        <a:hlink>
          <a:srgbClr val="B40082"/>
        </a:hlink>
        <a:folHlink>
          <a:srgbClr val="6E2D8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05_Powerpoint_2003</Template>
  <TotalTime>4329</TotalTime>
  <Words>983</Words>
  <Application>Microsoft Office PowerPoint</Application>
  <PresentationFormat>On-screen Show (4:3)</PresentationFormat>
  <Paragraphs>293</Paragraphs>
  <Slides>23</Slides>
  <Notes>1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05_Powerpoint_2003</vt:lpstr>
      <vt:lpstr>2011 – An exceptional year for SES</vt:lpstr>
      <vt:lpstr>Agenda</vt:lpstr>
      <vt:lpstr>OneSES – status update</vt:lpstr>
      <vt:lpstr>OneSES – We have come a long way</vt:lpstr>
      <vt:lpstr>OneSES – Operating model improvement</vt:lpstr>
      <vt:lpstr>Operating model improvement – Commercial</vt:lpstr>
      <vt:lpstr>Operating model improvement – Commercial</vt:lpstr>
      <vt:lpstr>Operating model improvement –Development</vt:lpstr>
      <vt:lpstr>Operating model improvement –Development</vt:lpstr>
      <vt:lpstr>Our achievements 2011</vt:lpstr>
      <vt:lpstr>Delivering solid financial results </vt:lpstr>
      <vt:lpstr>Industry benchmarking - Q3 YTD 2011</vt:lpstr>
      <vt:lpstr>Share price development 2011</vt:lpstr>
      <vt:lpstr>Continuing to lay the foundation for future growth</vt:lpstr>
      <vt:lpstr>Commercial successes</vt:lpstr>
      <vt:lpstr>Further developing our business</vt:lpstr>
      <vt:lpstr>A challenging 2012 business environment</vt:lpstr>
      <vt:lpstr>Challenges in 2012</vt:lpstr>
      <vt:lpstr>SES is ready to take up the challenge </vt:lpstr>
      <vt:lpstr>Where are we in the change process?</vt:lpstr>
      <vt:lpstr>Momentum participants rate the status of OneSES</vt:lpstr>
      <vt:lpstr>Slide 22</vt:lpstr>
      <vt:lpstr>Slide 23</vt:lpstr>
    </vt:vector>
  </TitlesOfParts>
  <Company>S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2 is set  in 48 pt Arial Bold </dc:title>
  <dc:creator>ghano</dc:creator>
  <cp:lastModifiedBy>nkossobokova</cp:lastModifiedBy>
  <cp:revision>72</cp:revision>
  <dcterms:created xsi:type="dcterms:W3CDTF">2011-11-22T10:08:41Z</dcterms:created>
  <dcterms:modified xsi:type="dcterms:W3CDTF">2011-12-09T14:03:25Z</dcterms:modified>
</cp:coreProperties>
</file>